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0" r:id="rId2"/>
    <p:sldId id="265" r:id="rId3"/>
    <p:sldId id="264" r:id="rId4"/>
    <p:sldId id="266" r:id="rId5"/>
    <p:sldId id="273" r:id="rId6"/>
    <p:sldId id="275" r:id="rId7"/>
    <p:sldId id="267" r:id="rId8"/>
    <p:sldId id="257" r:id="rId9"/>
    <p:sldId id="258" r:id="rId10"/>
    <p:sldId id="276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D7D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napToObjects="1" showGuides="1">
      <p:cViewPr varScale="1">
        <p:scale>
          <a:sx n="106" d="100"/>
          <a:sy n="106" d="100"/>
        </p:scale>
        <p:origin x="78" y="23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6D198-C2B1-4CEE-8737-E25C4E39297D}" type="datetimeFigureOut">
              <a:rPr lang="en-AU" smtClean="0"/>
              <a:t>10/07/2015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B9438-EBC7-48B5-B635-CC867CA80A6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448327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6D198-C2B1-4CEE-8737-E25C4E39297D}" type="datetimeFigureOut">
              <a:rPr lang="en-AU" smtClean="0"/>
              <a:t>10/07/2015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B9438-EBC7-48B5-B635-CC867CA80A6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257205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6D198-C2B1-4CEE-8737-E25C4E39297D}" type="datetimeFigureOut">
              <a:rPr lang="en-AU" smtClean="0"/>
              <a:t>10/07/2015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B9438-EBC7-48B5-B635-CC867CA80A6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982835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6D198-C2B1-4CEE-8737-E25C4E39297D}" type="datetimeFigureOut">
              <a:rPr lang="en-AU" smtClean="0"/>
              <a:t>10/07/2015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B9438-EBC7-48B5-B635-CC867CA80A6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753799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6D198-C2B1-4CEE-8737-E25C4E39297D}" type="datetimeFigureOut">
              <a:rPr lang="en-AU" smtClean="0"/>
              <a:t>10/07/2015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B9438-EBC7-48B5-B635-CC867CA80A6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16353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6D198-C2B1-4CEE-8737-E25C4E39297D}" type="datetimeFigureOut">
              <a:rPr lang="en-AU" smtClean="0"/>
              <a:t>10/07/2015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B9438-EBC7-48B5-B635-CC867CA80A6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738682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6D198-C2B1-4CEE-8737-E25C4E39297D}" type="datetimeFigureOut">
              <a:rPr lang="en-AU" smtClean="0"/>
              <a:t>10/07/2015</a:t>
            </a:fld>
            <a:endParaRPr lang="en-A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B9438-EBC7-48B5-B635-CC867CA80A6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361235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6D198-C2B1-4CEE-8737-E25C4E39297D}" type="datetimeFigureOut">
              <a:rPr lang="en-AU" smtClean="0"/>
              <a:t>10/07/2015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B9438-EBC7-48B5-B635-CC867CA80A6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262295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6D198-C2B1-4CEE-8737-E25C4E39297D}" type="datetimeFigureOut">
              <a:rPr lang="en-AU" smtClean="0"/>
              <a:t>10/07/2015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B9438-EBC7-48B5-B635-CC867CA80A6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298951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6D198-C2B1-4CEE-8737-E25C4E39297D}" type="datetimeFigureOut">
              <a:rPr lang="en-AU" smtClean="0"/>
              <a:t>10/07/2015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B9438-EBC7-48B5-B635-CC867CA80A6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43933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6D198-C2B1-4CEE-8737-E25C4E39297D}" type="datetimeFigureOut">
              <a:rPr lang="en-AU" smtClean="0"/>
              <a:t>10/07/2015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B9438-EBC7-48B5-B635-CC867CA80A6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600335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96D198-C2B1-4CEE-8737-E25C4E39297D}" type="datetimeFigureOut">
              <a:rPr lang="en-AU" smtClean="0"/>
              <a:t>10/07/2015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8B9438-EBC7-48B5-B635-CC867CA80A6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1797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3" t="4748" r="12266" b="10471"/>
          <a:stretch/>
        </p:blipFill>
        <p:spPr>
          <a:xfrm>
            <a:off x="3396000" y="1384848"/>
            <a:ext cx="5400000" cy="5400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TextBox 2"/>
          <p:cNvSpPr txBox="1"/>
          <p:nvPr/>
        </p:nvSpPr>
        <p:spPr>
          <a:xfrm>
            <a:off x="1" y="-332450"/>
            <a:ext cx="1219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9600" dirty="0" smtClean="0">
                <a:solidFill>
                  <a:schemeClr val="bg1"/>
                </a:solidFill>
              </a:rPr>
              <a:t>MARIST PRINCIPLES</a:t>
            </a:r>
            <a:endParaRPr lang="en-AU" sz="9600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" y="6510318"/>
            <a:ext cx="121920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60" dirty="0" smtClean="0">
                <a:solidFill>
                  <a:schemeClr val="bg1"/>
                </a:solidFill>
                <a:latin typeface="Arial"/>
                <a:cs typeface="Arial" pitchFamily="34" charset="0"/>
              </a:rPr>
              <a:t>Make Jesus known and loved (c.2)</a:t>
            </a:r>
            <a:r>
              <a:rPr lang="en-GB" sz="1660" b="1" dirty="0" smtClean="0">
                <a:solidFill>
                  <a:schemeClr val="bg1"/>
                </a:solidFill>
                <a:latin typeface="Arial"/>
                <a:cs typeface="Arial" pitchFamily="34" charset="0"/>
              </a:rPr>
              <a:t> </a:t>
            </a:r>
            <a:r>
              <a:rPr lang="en-GB" sz="1660" dirty="0" smtClean="0">
                <a:solidFill>
                  <a:schemeClr val="bg1"/>
                </a:solidFill>
                <a:latin typeface="Arial"/>
                <a:cs typeface="Arial" pitchFamily="34" charset="0"/>
              </a:rPr>
              <a:t>with a significant presence among poor children and young people.</a:t>
            </a:r>
          </a:p>
          <a:p>
            <a:pPr algn="ctr"/>
            <a:endParaRPr lang="en-AU" sz="166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433554" y="1848690"/>
            <a:ext cx="5500225" cy="4801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28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ased on core Marist values …</a:t>
            </a:r>
            <a:endParaRPr lang="en-GB" sz="28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140946" y="2553449"/>
            <a:ext cx="5674951" cy="4801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28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… with a particular spirituality…</a:t>
            </a:r>
            <a:endParaRPr lang="en-GB" sz="28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140946" y="3273661"/>
            <a:ext cx="5176418" cy="4801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28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… we are a global Institute …</a:t>
            </a:r>
            <a:endParaRPr lang="en-GB" sz="28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140946" y="4020191"/>
            <a:ext cx="7069564" cy="4801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28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… immersed in the world of our times …</a:t>
            </a:r>
            <a:endParaRPr lang="en-GB" sz="28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140946" y="5568550"/>
            <a:ext cx="6595075" cy="4801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28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… serving children and young people</a:t>
            </a:r>
            <a:endParaRPr lang="en-GB" sz="28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140946" y="4850871"/>
            <a:ext cx="9169498" cy="4801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28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… with a new relationship among Brothers and lay…</a:t>
            </a:r>
            <a:endParaRPr lang="en-GB" sz="28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9703783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3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3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3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9" dur="3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3" dur="indefinite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15"/>
                                      </p:to>
                                    </p:set>
                                    <p:animEffect filter="image" prLst="opacity: 0.15">
                                      <p:cBhvr rctx="IE">
                                        <p:cTn id="24" dur="indefinite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/>
      <p:bldP spid="6" grpId="0"/>
      <p:bldP spid="8" grpId="0"/>
      <p:bldP spid="9" grpId="0"/>
      <p:bldP spid="11" grpId="0"/>
      <p:bldP spid="13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117693"/>
            <a:ext cx="12192000" cy="67403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Arial" charset="0"/>
                <a:cs typeface="Arial" charset="0"/>
              </a:rPr>
              <a:t>At the beginning of the third centennial we search for the most adequate ways to </a:t>
            </a:r>
            <a:endParaRPr lang="en-US" dirty="0" smtClean="0">
              <a:latin typeface="Arial" charset="0"/>
              <a:cs typeface="Arial" charset="0"/>
            </a:endParaRPr>
          </a:p>
          <a:p>
            <a:pPr algn="ctr"/>
            <a:r>
              <a:rPr lang="en-US" b="1" dirty="0" smtClean="0">
                <a:latin typeface="Arial" charset="0"/>
                <a:cs typeface="Arial" charset="0"/>
              </a:rPr>
              <a:t>ensure </a:t>
            </a:r>
            <a:r>
              <a:rPr lang="en-US" b="1" dirty="0">
                <a:latin typeface="Arial" charset="0"/>
                <a:cs typeface="Arial" charset="0"/>
              </a:rPr>
              <a:t>the Sustainability And Vitality of the Marist Mission</a:t>
            </a:r>
            <a:r>
              <a:rPr lang="en-US" b="1" dirty="0" smtClean="0">
                <a:latin typeface="Arial" charset="0"/>
                <a:cs typeface="Arial" charset="0"/>
              </a:rPr>
              <a:t>.</a:t>
            </a:r>
          </a:p>
          <a:p>
            <a:pPr algn="ctr"/>
            <a:endParaRPr lang="en-US" b="1" dirty="0">
              <a:latin typeface="Arial" charset="0"/>
              <a:cs typeface="Arial" charset="0"/>
            </a:endParaRPr>
          </a:p>
          <a:p>
            <a:pPr algn="ctr"/>
            <a:r>
              <a:rPr lang="en-US" dirty="0">
                <a:latin typeface="Arial" charset="0"/>
                <a:cs typeface="Arial" charset="0"/>
              </a:rPr>
              <a:t>We develop people who are happy, passionate and committed to the Marist charism; for them we </a:t>
            </a:r>
            <a:r>
              <a:rPr lang="en-US" dirty="0" smtClean="0">
                <a:latin typeface="Arial" charset="0"/>
                <a:cs typeface="Arial" charset="0"/>
              </a:rPr>
              <a:t>promote</a:t>
            </a:r>
          </a:p>
          <a:p>
            <a:pPr algn="ctr"/>
            <a:r>
              <a:rPr lang="en-US" b="1" dirty="0" smtClean="0">
                <a:latin typeface="Arial" charset="0"/>
                <a:cs typeface="Arial" charset="0"/>
              </a:rPr>
              <a:t>experiences </a:t>
            </a:r>
            <a:r>
              <a:rPr lang="en-US" b="1" dirty="0">
                <a:latin typeface="Arial" charset="0"/>
                <a:cs typeface="Arial" charset="0"/>
              </a:rPr>
              <a:t>and accompaniment and formation processes </a:t>
            </a:r>
            <a:endParaRPr lang="en-US" b="1" dirty="0" smtClean="0">
              <a:latin typeface="Arial" charset="0"/>
              <a:cs typeface="Arial" charset="0"/>
            </a:endParaRPr>
          </a:p>
          <a:p>
            <a:pPr algn="ctr"/>
            <a:r>
              <a:rPr lang="en-US" dirty="0" smtClean="0">
                <a:latin typeface="Arial" charset="0"/>
                <a:cs typeface="Arial" charset="0"/>
              </a:rPr>
              <a:t>at </a:t>
            </a:r>
            <a:r>
              <a:rPr lang="en-US" dirty="0">
                <a:latin typeface="Arial" charset="0"/>
                <a:cs typeface="Arial" charset="0"/>
              </a:rPr>
              <a:t>all levels of the Institute</a:t>
            </a:r>
            <a:r>
              <a:rPr lang="en-US" dirty="0" smtClean="0">
                <a:latin typeface="Arial" charset="0"/>
                <a:cs typeface="Arial" charset="0"/>
              </a:rPr>
              <a:t>.</a:t>
            </a:r>
          </a:p>
          <a:p>
            <a:pPr algn="ctr"/>
            <a:endParaRPr lang="en-US" dirty="0">
              <a:latin typeface="Arial" charset="0"/>
              <a:cs typeface="Arial" charset="0"/>
            </a:endParaRPr>
          </a:p>
          <a:p>
            <a:pPr algn="ctr"/>
            <a:r>
              <a:rPr lang="en-US" dirty="0">
                <a:latin typeface="Arial" charset="0"/>
                <a:cs typeface="Arial" charset="0"/>
              </a:rPr>
              <a:t>We identify ourselves as an </a:t>
            </a:r>
            <a:endParaRPr lang="en-US" dirty="0" smtClean="0">
              <a:latin typeface="Arial" charset="0"/>
              <a:cs typeface="Arial" charset="0"/>
            </a:endParaRPr>
          </a:p>
          <a:p>
            <a:pPr algn="ctr"/>
            <a:r>
              <a:rPr lang="en-US" b="1" dirty="0" smtClean="0">
                <a:latin typeface="Arial" charset="0"/>
                <a:cs typeface="Arial" charset="0"/>
              </a:rPr>
              <a:t>international </a:t>
            </a:r>
            <a:r>
              <a:rPr lang="en-US" b="1" dirty="0">
                <a:latin typeface="Arial" charset="0"/>
                <a:cs typeface="Arial" charset="0"/>
              </a:rPr>
              <a:t>Institute </a:t>
            </a:r>
            <a:r>
              <a:rPr lang="en-US" dirty="0">
                <a:latin typeface="Arial" charset="0"/>
                <a:cs typeface="Arial" charset="0"/>
              </a:rPr>
              <a:t>acting as a </a:t>
            </a:r>
            <a:r>
              <a:rPr lang="en-US" b="1" dirty="0">
                <a:latin typeface="Arial" charset="0"/>
                <a:cs typeface="Arial" charset="0"/>
              </a:rPr>
              <a:t>global body </a:t>
            </a:r>
            <a:endParaRPr lang="en-US" b="1" dirty="0" smtClean="0">
              <a:latin typeface="Arial" charset="0"/>
              <a:cs typeface="Arial" charset="0"/>
            </a:endParaRPr>
          </a:p>
          <a:p>
            <a:pPr algn="ctr"/>
            <a:r>
              <a:rPr lang="en-US" dirty="0" smtClean="0">
                <a:latin typeface="Arial" charset="0"/>
                <a:cs typeface="Arial" charset="0"/>
              </a:rPr>
              <a:t>in </a:t>
            </a:r>
            <a:r>
              <a:rPr lang="en-US" dirty="0">
                <a:latin typeface="Arial" charset="0"/>
                <a:cs typeface="Arial" charset="0"/>
              </a:rPr>
              <a:t>all dimensions of the Marist life and Mission</a:t>
            </a:r>
            <a:r>
              <a:rPr lang="en-US" dirty="0" smtClean="0">
                <a:latin typeface="Arial" charset="0"/>
                <a:cs typeface="Arial" charset="0"/>
              </a:rPr>
              <a:t>.</a:t>
            </a:r>
          </a:p>
          <a:p>
            <a:pPr algn="ctr"/>
            <a:endParaRPr lang="en-US" dirty="0">
              <a:latin typeface="Arial" charset="0"/>
              <a:cs typeface="Arial" charset="0"/>
            </a:endParaRPr>
          </a:p>
          <a:p>
            <a:pPr algn="ctr"/>
            <a:r>
              <a:rPr lang="en-US" dirty="0">
                <a:latin typeface="Arial" charset="0"/>
                <a:cs typeface="Arial" charset="0"/>
              </a:rPr>
              <a:t>We prioritize the </a:t>
            </a:r>
            <a:endParaRPr lang="en-US" dirty="0" smtClean="0">
              <a:latin typeface="Arial" charset="0"/>
              <a:cs typeface="Arial" charset="0"/>
            </a:endParaRPr>
          </a:p>
          <a:p>
            <a:pPr algn="ctr"/>
            <a:r>
              <a:rPr lang="en-US" dirty="0" smtClean="0">
                <a:latin typeface="Arial" charset="0"/>
                <a:cs typeface="Arial" charset="0"/>
              </a:rPr>
              <a:t>p</a:t>
            </a:r>
            <a:r>
              <a:rPr lang="en-US" b="1" dirty="0" smtClean="0">
                <a:latin typeface="Arial" charset="0"/>
                <a:cs typeface="Arial" charset="0"/>
              </a:rPr>
              <a:t>resence </a:t>
            </a:r>
            <a:r>
              <a:rPr lang="en-US" b="1" dirty="0">
                <a:latin typeface="Arial" charset="0"/>
                <a:cs typeface="Arial" charset="0"/>
              </a:rPr>
              <a:t>and closeness of Brothers and vocational lay people among the children and young people</a:t>
            </a:r>
            <a:r>
              <a:rPr lang="en-US" dirty="0">
                <a:latin typeface="Arial" charset="0"/>
                <a:cs typeface="Arial" charset="0"/>
              </a:rPr>
              <a:t>, especially the poor and vulnerable</a:t>
            </a:r>
            <a:r>
              <a:rPr lang="en-US" dirty="0" smtClean="0">
                <a:latin typeface="Arial" charset="0"/>
                <a:cs typeface="Arial" charset="0"/>
              </a:rPr>
              <a:t>.</a:t>
            </a:r>
          </a:p>
          <a:p>
            <a:pPr algn="ctr"/>
            <a:endParaRPr lang="en-US" dirty="0">
              <a:latin typeface="Arial" charset="0"/>
              <a:cs typeface="Arial" charset="0"/>
            </a:endParaRPr>
          </a:p>
          <a:p>
            <a:pPr algn="ctr"/>
            <a:r>
              <a:rPr lang="en-US" dirty="0">
                <a:latin typeface="Arial" charset="0"/>
                <a:cs typeface="Arial" charset="0"/>
              </a:rPr>
              <a:t>We experience and undertake </a:t>
            </a:r>
            <a:r>
              <a:rPr lang="en-US" b="1" dirty="0">
                <a:latin typeface="Arial" charset="0"/>
                <a:cs typeface="Arial" charset="0"/>
              </a:rPr>
              <a:t>communion and co-responsibility </a:t>
            </a:r>
            <a:r>
              <a:rPr lang="en-US" dirty="0">
                <a:latin typeface="Arial" charset="0"/>
                <a:cs typeface="Arial" charset="0"/>
              </a:rPr>
              <a:t>in the Marist Mission</a:t>
            </a:r>
            <a:r>
              <a:rPr lang="en-US" dirty="0" smtClean="0">
                <a:latin typeface="Arial" charset="0"/>
                <a:cs typeface="Arial" charset="0"/>
              </a:rPr>
              <a:t>.</a:t>
            </a:r>
          </a:p>
          <a:p>
            <a:pPr algn="ctr"/>
            <a:endParaRPr lang="en-US" dirty="0">
              <a:latin typeface="Arial" charset="0"/>
              <a:cs typeface="Arial" charset="0"/>
            </a:endParaRPr>
          </a:p>
          <a:p>
            <a:pPr algn="ctr"/>
            <a:r>
              <a:rPr lang="en-US" dirty="0">
                <a:latin typeface="Arial" charset="0"/>
                <a:cs typeface="Arial" charset="0"/>
              </a:rPr>
              <a:t>We take up at all levels of the Institute (AUs, Regions and General Government) </a:t>
            </a:r>
            <a:endParaRPr lang="en-US" dirty="0" smtClean="0">
              <a:latin typeface="Arial" charset="0"/>
              <a:cs typeface="Arial" charset="0"/>
            </a:endParaRPr>
          </a:p>
          <a:p>
            <a:pPr algn="ctr"/>
            <a:r>
              <a:rPr lang="en-US" b="1" dirty="0" smtClean="0">
                <a:latin typeface="Arial" charset="0"/>
                <a:cs typeface="Arial" charset="0"/>
              </a:rPr>
              <a:t>participation </a:t>
            </a:r>
            <a:r>
              <a:rPr lang="en-US" b="1" dirty="0">
                <a:latin typeface="Arial" charset="0"/>
                <a:cs typeface="Arial" charset="0"/>
              </a:rPr>
              <a:t>and co-responsibility </a:t>
            </a:r>
            <a:endParaRPr lang="en-US" b="1" dirty="0" smtClean="0">
              <a:latin typeface="Arial" charset="0"/>
              <a:cs typeface="Arial" charset="0"/>
            </a:endParaRPr>
          </a:p>
          <a:p>
            <a:pPr algn="ctr"/>
            <a:r>
              <a:rPr lang="en-US" dirty="0" smtClean="0">
                <a:latin typeface="Arial" charset="0"/>
                <a:cs typeface="Arial" charset="0"/>
              </a:rPr>
              <a:t>in </a:t>
            </a:r>
            <a:r>
              <a:rPr lang="en-US" dirty="0">
                <a:latin typeface="Arial" charset="0"/>
                <a:cs typeface="Arial" charset="0"/>
              </a:rPr>
              <a:t>the animation, government and management of the Marist Mission</a:t>
            </a:r>
            <a:r>
              <a:rPr lang="en-US" dirty="0" smtClean="0">
                <a:latin typeface="Arial" charset="0"/>
                <a:cs typeface="Arial" charset="0"/>
              </a:rPr>
              <a:t>.</a:t>
            </a:r>
          </a:p>
          <a:p>
            <a:pPr algn="ctr"/>
            <a:endParaRPr lang="en-US" dirty="0">
              <a:latin typeface="Arial" charset="0"/>
              <a:cs typeface="Arial" charset="0"/>
            </a:endParaRPr>
          </a:p>
          <a:p>
            <a:pPr algn="ctr"/>
            <a:r>
              <a:rPr lang="en-US" dirty="0">
                <a:latin typeface="Arial" charset="0"/>
                <a:cs typeface="Arial" charset="0"/>
              </a:rPr>
              <a:t>In order to respond to the calls and challenges of our Mission, we search for </a:t>
            </a:r>
            <a:endParaRPr lang="en-US" dirty="0" smtClean="0">
              <a:latin typeface="Arial" charset="0"/>
              <a:cs typeface="Arial" charset="0"/>
            </a:endParaRPr>
          </a:p>
          <a:p>
            <a:pPr algn="ctr"/>
            <a:r>
              <a:rPr lang="en-US" b="1" dirty="0" smtClean="0">
                <a:latin typeface="Arial" charset="0"/>
                <a:cs typeface="Arial" charset="0"/>
              </a:rPr>
              <a:t>appropriate </a:t>
            </a:r>
            <a:r>
              <a:rPr lang="en-US" b="1" dirty="0">
                <a:latin typeface="Arial" charset="0"/>
                <a:cs typeface="Arial" charset="0"/>
              </a:rPr>
              <a:t>structures </a:t>
            </a:r>
            <a:endParaRPr lang="en-US" b="1" dirty="0" smtClean="0">
              <a:latin typeface="Arial" charset="0"/>
              <a:cs typeface="Arial" charset="0"/>
            </a:endParaRPr>
          </a:p>
          <a:p>
            <a:pPr algn="ctr"/>
            <a:r>
              <a:rPr lang="en-US" dirty="0" smtClean="0">
                <a:latin typeface="Arial" charset="0"/>
                <a:cs typeface="Arial" charset="0"/>
              </a:rPr>
              <a:t>and </a:t>
            </a:r>
            <a:r>
              <a:rPr lang="en-US" dirty="0">
                <a:latin typeface="Arial" charset="0"/>
                <a:cs typeface="Arial" charset="0"/>
              </a:rPr>
              <a:t>clearly define roles and responsibilities of people. </a:t>
            </a:r>
          </a:p>
        </p:txBody>
      </p:sp>
    </p:spTree>
    <p:extLst>
      <p:ext uri="{BB962C8B-B14F-4D97-AF65-F5344CB8AC3E}">
        <p14:creationId xmlns:p14="http://schemas.microsoft.com/office/powerpoint/2010/main" val="1461225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xplosion 2 6"/>
          <p:cNvSpPr/>
          <p:nvPr/>
        </p:nvSpPr>
        <p:spPr>
          <a:xfrm>
            <a:off x="1926115" y="593694"/>
            <a:ext cx="8339769" cy="6158429"/>
          </a:xfrm>
          <a:prstGeom prst="irregularSeal2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4800" dirty="0" smtClean="0">
                <a:solidFill>
                  <a:schemeClr val="bg2">
                    <a:lumMod val="25000"/>
                  </a:schemeClr>
                </a:solidFill>
              </a:rPr>
              <a:t>MARIST PRINCIPLES</a:t>
            </a:r>
          </a:p>
          <a:p>
            <a:pPr algn="ctr"/>
            <a:r>
              <a:rPr lang="en-AU" sz="8000" dirty="0" smtClean="0"/>
              <a:t>inspire</a:t>
            </a:r>
            <a:endParaRPr lang="en-AU" sz="8000" dirty="0"/>
          </a:p>
        </p:txBody>
      </p:sp>
    </p:spTree>
    <p:extLst>
      <p:ext uri="{BB962C8B-B14F-4D97-AF65-F5344CB8AC3E}">
        <p14:creationId xmlns:p14="http://schemas.microsoft.com/office/powerpoint/2010/main" val="4022949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" y="-332450"/>
            <a:ext cx="121920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8800" dirty="0" smtClean="0">
                <a:solidFill>
                  <a:schemeClr val="bg1"/>
                </a:solidFill>
              </a:rPr>
              <a:t>NEW MODEL PRINCIPLES</a:t>
            </a:r>
            <a:endParaRPr lang="en-AU" sz="8800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" y="828675"/>
            <a:ext cx="121920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60" dirty="0" smtClean="0">
                <a:solidFill>
                  <a:schemeClr val="bg1"/>
                </a:solidFill>
                <a:latin typeface="Arial"/>
                <a:cs typeface="Arial" pitchFamily="34" charset="0"/>
              </a:rPr>
              <a:t>Make Jesus known and loved (c.2)</a:t>
            </a:r>
            <a:r>
              <a:rPr lang="en-GB" sz="1660" b="1" dirty="0" smtClean="0">
                <a:solidFill>
                  <a:schemeClr val="bg1"/>
                </a:solidFill>
                <a:latin typeface="Arial"/>
                <a:cs typeface="Arial" pitchFamily="34" charset="0"/>
              </a:rPr>
              <a:t> </a:t>
            </a:r>
            <a:r>
              <a:rPr lang="en-GB" sz="1660" dirty="0" smtClean="0">
                <a:solidFill>
                  <a:schemeClr val="bg1"/>
                </a:solidFill>
                <a:latin typeface="Arial"/>
                <a:cs typeface="Arial" pitchFamily="34" charset="0"/>
              </a:rPr>
              <a:t>with a significant presence among poor children and young people.</a:t>
            </a:r>
          </a:p>
          <a:p>
            <a:pPr algn="ctr"/>
            <a:endParaRPr lang="en-AU" sz="1660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5391" y="1136451"/>
            <a:ext cx="5761219" cy="5761219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6162785" y="1477592"/>
            <a:ext cx="5740674" cy="4801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2800" b="1" i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Passion</a:t>
            </a:r>
            <a:r>
              <a:rPr lang="en-GB" sz="2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for Marist life and Mission</a:t>
            </a:r>
            <a:endParaRPr lang="en-GB" sz="28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966912" y="2048666"/>
            <a:ext cx="7407798" cy="4801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2800" b="1" i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Presence</a:t>
            </a:r>
            <a:r>
              <a:rPr lang="en-GB" sz="2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among children and young people </a:t>
            </a:r>
            <a:endParaRPr lang="en-GB" sz="28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573281" y="2714430"/>
            <a:ext cx="7736413" cy="4801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2800" b="1" i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Co-responsibility</a:t>
            </a:r>
            <a:r>
              <a:rPr lang="en-GB" sz="2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,</a:t>
            </a:r>
            <a:r>
              <a:rPr lang="en-GB" sz="2800" b="1" i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solidarity</a:t>
            </a:r>
            <a:r>
              <a:rPr lang="en-GB" sz="2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and </a:t>
            </a:r>
            <a:r>
              <a:rPr lang="en-GB" sz="2800" b="1" i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bsidiarity</a:t>
            </a:r>
            <a:endParaRPr lang="en-GB" sz="28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9006266" y="3359971"/>
            <a:ext cx="3066352" cy="4801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2800" b="1" i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 </a:t>
            </a:r>
            <a:r>
              <a:rPr lang="en-GB" sz="2800" b="1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g</a:t>
            </a:r>
            <a:r>
              <a:rPr lang="en-GB" sz="2800" b="1" i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lobal</a:t>
            </a:r>
            <a:r>
              <a:rPr lang="en-GB" sz="2800" b="1" i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mindset</a:t>
            </a:r>
            <a:endParaRPr lang="en-GB" sz="28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9428115" y="4073868"/>
            <a:ext cx="2682146" cy="4801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2800" b="1" i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Interculturality</a:t>
            </a:r>
            <a:endParaRPr lang="en-GB" sz="2800" b="1" i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7729594" y="4725707"/>
            <a:ext cx="4580100" cy="4801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2800" b="1" i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Creativity </a:t>
            </a:r>
            <a:r>
              <a:rPr lang="en-GB" sz="2800" b="1" i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nd innovation </a:t>
            </a:r>
            <a:endParaRPr lang="en-GB" sz="28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6117260" y="5340925"/>
            <a:ext cx="6124433" cy="4801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81584" algn="ctr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</a:pPr>
            <a:r>
              <a:rPr lang="en-GB" sz="2800" b="1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 </a:t>
            </a:r>
            <a:r>
              <a:rPr lang="en-GB" sz="2800" b="1" i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competencies</a:t>
            </a:r>
            <a:r>
              <a:rPr lang="en-GB" sz="2800" b="1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nd attitudes</a:t>
            </a:r>
            <a:endParaRPr lang="en-GB" sz="2800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9665410" y="5992764"/>
            <a:ext cx="2537811" cy="4801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2800" b="1" i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Transparency</a:t>
            </a:r>
            <a:endParaRPr lang="en-GB" sz="2800" b="1" i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2821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378" y="4527"/>
            <a:ext cx="12317770" cy="6858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" y="-332450"/>
            <a:ext cx="1219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9600" dirty="0" smtClean="0">
                <a:solidFill>
                  <a:schemeClr val="bg1"/>
                </a:solidFill>
              </a:rPr>
              <a:t>PRINCIPLES</a:t>
            </a:r>
            <a:endParaRPr lang="en-AU" sz="9600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46889" y="6487881"/>
            <a:ext cx="121920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6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 pitchFamily="34" charset="0"/>
              </a:rPr>
              <a:t>Make Jesus known and loved (c.2)</a:t>
            </a:r>
            <a:r>
              <a:rPr lang="en-GB" sz="166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 pitchFamily="34" charset="0"/>
              </a:rPr>
              <a:t> </a:t>
            </a:r>
            <a:r>
              <a:rPr lang="en-GB" sz="166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 pitchFamily="34" charset="0"/>
              </a:rPr>
              <a:t>with a significant presence among poor children and young people.</a:t>
            </a:r>
          </a:p>
          <a:p>
            <a:pPr algn="ctr"/>
            <a:endParaRPr lang="en-AU" sz="166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2688" y="2227519"/>
            <a:ext cx="3595856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ased on core Marist values …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-32728" y="2857122"/>
            <a:ext cx="3711272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… with a particular spirituality…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3502093"/>
            <a:ext cx="3390672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… we are a global Institute …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-32728" y="4213575"/>
            <a:ext cx="4608954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… immersed in the world of our times …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-32728" y="4983094"/>
            <a:ext cx="5955476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… with a new relationship among Brothers and lay…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-32728" y="5612697"/>
            <a:ext cx="4301177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… serving children and young people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947804" y="1942273"/>
            <a:ext cx="4134465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b="1" i="1" dirty="0" smtClean="0">
                <a:solidFill>
                  <a:srgbClr val="FFFF00"/>
                </a:solidFill>
                <a:latin typeface="Arial" pitchFamily="34" charset="0"/>
                <a:cs typeface="Arial" pitchFamily="34" charset="0"/>
              </a:rPr>
              <a:t>Passion</a:t>
            </a:r>
            <a:r>
              <a:rPr lang="en-GB" dirty="0" smtClean="0">
                <a:solidFill>
                  <a:srgbClr val="FFFF00"/>
                </a:solidFill>
                <a:latin typeface="Arial" pitchFamily="34" charset="0"/>
                <a:cs typeface="Arial" pitchFamily="34" charset="0"/>
              </a:rPr>
              <a:t> for the Marist life and Mission</a:t>
            </a:r>
            <a:endParaRPr lang="en-GB" dirty="0">
              <a:solidFill>
                <a:srgbClr val="FFFF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384660" y="2516118"/>
            <a:ext cx="4814138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b="1" i="1" dirty="0" smtClean="0">
                <a:solidFill>
                  <a:srgbClr val="FFFF00"/>
                </a:solidFill>
                <a:latin typeface="Arial" pitchFamily="34" charset="0"/>
                <a:cs typeface="Arial" pitchFamily="34" charset="0"/>
              </a:rPr>
              <a:t>Presence</a:t>
            </a:r>
            <a:r>
              <a:rPr lang="en-GB" dirty="0" smtClean="0">
                <a:solidFill>
                  <a:srgbClr val="FFFF00"/>
                </a:solidFill>
                <a:latin typeface="Arial" pitchFamily="34" charset="0"/>
                <a:cs typeface="Arial" pitchFamily="34" charset="0"/>
              </a:rPr>
              <a:t> among children and young people </a:t>
            </a:r>
            <a:endParaRPr lang="en-GB" dirty="0">
              <a:solidFill>
                <a:srgbClr val="FFFF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159854" y="3091895"/>
            <a:ext cx="5032147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b="1" i="1" dirty="0" smtClean="0">
                <a:solidFill>
                  <a:srgbClr val="FFFF00"/>
                </a:solidFill>
                <a:latin typeface="Arial" pitchFamily="34" charset="0"/>
                <a:cs typeface="Arial" pitchFamily="34" charset="0"/>
              </a:rPr>
              <a:t>Co-responsibility</a:t>
            </a:r>
            <a:r>
              <a:rPr lang="en-GB" dirty="0" smtClean="0">
                <a:solidFill>
                  <a:srgbClr val="FFFF00"/>
                </a:solidFill>
                <a:latin typeface="Arial" pitchFamily="34" charset="0"/>
                <a:cs typeface="Arial" pitchFamily="34" charset="0"/>
              </a:rPr>
              <a:t>,</a:t>
            </a:r>
            <a:r>
              <a:rPr lang="en-GB" b="1" i="1" dirty="0" smtClean="0">
                <a:solidFill>
                  <a:srgbClr val="FFFF00"/>
                </a:solidFill>
                <a:latin typeface="Arial" pitchFamily="34" charset="0"/>
                <a:cs typeface="Arial" pitchFamily="34" charset="0"/>
              </a:rPr>
              <a:t> solidarity</a:t>
            </a:r>
            <a:r>
              <a:rPr lang="en-GB" dirty="0" smtClean="0">
                <a:solidFill>
                  <a:srgbClr val="FFFF00"/>
                </a:solidFill>
                <a:latin typeface="Arial" pitchFamily="34" charset="0"/>
                <a:cs typeface="Arial" pitchFamily="34" charset="0"/>
              </a:rPr>
              <a:t> and </a:t>
            </a:r>
            <a:r>
              <a:rPr lang="en-GB" b="1" i="1" dirty="0" smtClean="0">
                <a:solidFill>
                  <a:srgbClr val="FFFF00"/>
                </a:solidFill>
                <a:latin typeface="Arial" pitchFamily="34" charset="0"/>
                <a:cs typeface="Arial" pitchFamily="34" charset="0"/>
              </a:rPr>
              <a:t>subsidiarity</a:t>
            </a:r>
            <a:endParaRPr lang="en-GB" b="1" i="1" dirty="0">
              <a:solidFill>
                <a:srgbClr val="FFFF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0034273" y="3630968"/>
            <a:ext cx="2035557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b="1" i="1" dirty="0" smtClean="0">
                <a:solidFill>
                  <a:srgbClr val="FFFF00"/>
                </a:solidFill>
                <a:latin typeface="Arial" pitchFamily="34" charset="0"/>
                <a:cs typeface="Arial" pitchFamily="34" charset="0"/>
              </a:rPr>
              <a:t>A global mindset</a:t>
            </a:r>
            <a:endParaRPr lang="en-GB" b="1" i="1" dirty="0">
              <a:solidFill>
                <a:srgbClr val="FFFF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0372971" y="4156136"/>
            <a:ext cx="1787669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b="1" i="1" dirty="0" smtClean="0">
                <a:solidFill>
                  <a:srgbClr val="FFFF00"/>
                </a:solidFill>
                <a:latin typeface="Arial" pitchFamily="34" charset="0"/>
                <a:cs typeface="Arial" pitchFamily="34" charset="0"/>
              </a:rPr>
              <a:t>Interculturality</a:t>
            </a:r>
            <a:endParaRPr lang="en-GB" b="1" i="1" dirty="0">
              <a:solidFill>
                <a:srgbClr val="FFFF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9192847" y="4739562"/>
            <a:ext cx="3005951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b="1" i="1" dirty="0" smtClean="0">
                <a:solidFill>
                  <a:srgbClr val="FFFF00"/>
                </a:solidFill>
                <a:latin typeface="Arial" pitchFamily="34" charset="0"/>
                <a:cs typeface="Arial" pitchFamily="34" charset="0"/>
              </a:rPr>
              <a:t>Creativity and innovation </a:t>
            </a:r>
            <a:endParaRPr lang="en-GB" b="1" i="1" dirty="0">
              <a:solidFill>
                <a:srgbClr val="FFFF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8162692" y="5355555"/>
            <a:ext cx="4061369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81584" algn="ctr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</a:pPr>
            <a:r>
              <a:rPr lang="en-GB" b="1" i="1" dirty="0" smtClean="0">
                <a:solidFill>
                  <a:srgbClr val="FFFF00"/>
                </a:solidFill>
                <a:latin typeface="Arial" pitchFamily="34" charset="0"/>
                <a:cs typeface="Arial" pitchFamily="34" charset="0"/>
              </a:rPr>
              <a:t>Right competencies and attitudes</a:t>
            </a:r>
            <a:endParaRPr lang="en-GB" b="1" i="1" dirty="0">
              <a:solidFill>
                <a:srgbClr val="FFFF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262259" y="5855172"/>
            <a:ext cx="18632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2000" b="1" i="1" dirty="0" smtClean="0">
                <a:solidFill>
                  <a:srgbClr val="FFFF00"/>
                </a:solidFill>
                <a:latin typeface="Arial" pitchFamily="34" charset="0"/>
                <a:cs typeface="Arial" pitchFamily="34" charset="0"/>
              </a:rPr>
              <a:t>Transparency</a:t>
            </a:r>
            <a:endParaRPr lang="en-GB" sz="2000" b="1" i="1" dirty="0">
              <a:solidFill>
                <a:srgbClr val="FFFF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73736" y="1051560"/>
            <a:ext cx="39044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IST</a:t>
            </a:r>
            <a:endParaRPr lang="en-AU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8177781" y="1044516"/>
            <a:ext cx="39044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AU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W MODELS</a:t>
            </a:r>
            <a:endParaRPr lang="en-AU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475658874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-180975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5400" dirty="0" smtClean="0">
                <a:solidFill>
                  <a:schemeClr val="bg1"/>
                </a:solidFill>
              </a:rPr>
              <a:t>GUIDELINES</a:t>
            </a:r>
            <a:endParaRPr lang="en-AU" sz="5400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6000" y="2709000"/>
            <a:ext cx="1440000" cy="1440000"/>
          </a:xfrm>
          <a:prstGeom prst="rect">
            <a:avLst/>
          </a:prstGeom>
        </p:spPr>
      </p:pic>
      <p:sp>
        <p:nvSpPr>
          <p:cNvPr id="4" name="Freeform 3"/>
          <p:cNvSpPr/>
          <p:nvPr/>
        </p:nvSpPr>
        <p:spPr>
          <a:xfrm>
            <a:off x="5357331" y="2691885"/>
            <a:ext cx="1476000" cy="1404000"/>
          </a:xfrm>
          <a:custGeom>
            <a:avLst/>
            <a:gdLst>
              <a:gd name="connsiteX0" fmla="*/ 514350 w 1505789"/>
              <a:gd name="connsiteY0" fmla="*/ 68841 h 1411866"/>
              <a:gd name="connsiteX1" fmla="*/ 561975 w 1505789"/>
              <a:gd name="connsiteY1" fmla="*/ 59316 h 1411866"/>
              <a:gd name="connsiteX2" fmla="*/ 619125 w 1505789"/>
              <a:gd name="connsiteY2" fmla="*/ 49791 h 1411866"/>
              <a:gd name="connsiteX3" fmla="*/ 695325 w 1505789"/>
              <a:gd name="connsiteY3" fmla="*/ 30741 h 1411866"/>
              <a:gd name="connsiteX4" fmla="*/ 733425 w 1505789"/>
              <a:gd name="connsiteY4" fmla="*/ 21216 h 1411866"/>
              <a:gd name="connsiteX5" fmla="*/ 762000 w 1505789"/>
              <a:gd name="connsiteY5" fmla="*/ 2166 h 1411866"/>
              <a:gd name="connsiteX6" fmla="*/ 876300 w 1505789"/>
              <a:gd name="connsiteY6" fmla="*/ 21216 h 1411866"/>
              <a:gd name="connsiteX7" fmla="*/ 933450 w 1505789"/>
              <a:gd name="connsiteY7" fmla="*/ 30741 h 1411866"/>
              <a:gd name="connsiteX8" fmla="*/ 962025 w 1505789"/>
              <a:gd name="connsiteY8" fmla="*/ 40266 h 1411866"/>
              <a:gd name="connsiteX9" fmla="*/ 1028700 w 1505789"/>
              <a:gd name="connsiteY9" fmla="*/ 49791 h 1411866"/>
              <a:gd name="connsiteX10" fmla="*/ 1123950 w 1505789"/>
              <a:gd name="connsiteY10" fmla="*/ 78366 h 1411866"/>
              <a:gd name="connsiteX11" fmla="*/ 1190625 w 1505789"/>
              <a:gd name="connsiteY11" fmla="*/ 125991 h 1411866"/>
              <a:gd name="connsiteX12" fmla="*/ 1219200 w 1505789"/>
              <a:gd name="connsiteY12" fmla="*/ 135516 h 1411866"/>
              <a:gd name="connsiteX13" fmla="*/ 1247775 w 1505789"/>
              <a:gd name="connsiteY13" fmla="*/ 154566 h 1411866"/>
              <a:gd name="connsiteX14" fmla="*/ 1257300 w 1505789"/>
              <a:gd name="connsiteY14" fmla="*/ 183141 h 1411866"/>
              <a:gd name="connsiteX15" fmla="*/ 1295400 w 1505789"/>
              <a:gd name="connsiteY15" fmla="*/ 240291 h 1411866"/>
              <a:gd name="connsiteX16" fmla="*/ 1323975 w 1505789"/>
              <a:gd name="connsiteY16" fmla="*/ 306966 h 1411866"/>
              <a:gd name="connsiteX17" fmla="*/ 1362075 w 1505789"/>
              <a:gd name="connsiteY17" fmla="*/ 364116 h 1411866"/>
              <a:gd name="connsiteX18" fmla="*/ 1381125 w 1505789"/>
              <a:gd name="connsiteY18" fmla="*/ 392691 h 1411866"/>
              <a:gd name="connsiteX19" fmla="*/ 1447800 w 1505789"/>
              <a:gd name="connsiteY19" fmla="*/ 487941 h 1411866"/>
              <a:gd name="connsiteX20" fmla="*/ 1457325 w 1505789"/>
              <a:gd name="connsiteY20" fmla="*/ 516516 h 1411866"/>
              <a:gd name="connsiteX21" fmla="*/ 1476375 w 1505789"/>
              <a:gd name="connsiteY21" fmla="*/ 649866 h 1411866"/>
              <a:gd name="connsiteX22" fmla="*/ 1495425 w 1505789"/>
              <a:gd name="connsiteY22" fmla="*/ 678441 h 1411866"/>
              <a:gd name="connsiteX23" fmla="*/ 1495425 w 1505789"/>
              <a:gd name="connsiteY23" fmla="*/ 945141 h 1411866"/>
              <a:gd name="connsiteX24" fmla="*/ 1447800 w 1505789"/>
              <a:gd name="connsiteY24" fmla="*/ 1040391 h 1411866"/>
              <a:gd name="connsiteX25" fmla="*/ 1428750 w 1505789"/>
              <a:gd name="connsiteY25" fmla="*/ 1068966 h 1411866"/>
              <a:gd name="connsiteX26" fmla="*/ 1419225 w 1505789"/>
              <a:gd name="connsiteY26" fmla="*/ 1097541 h 1411866"/>
              <a:gd name="connsiteX27" fmla="*/ 1381125 w 1505789"/>
              <a:gd name="connsiteY27" fmla="*/ 1154691 h 1411866"/>
              <a:gd name="connsiteX28" fmla="*/ 1333500 w 1505789"/>
              <a:gd name="connsiteY28" fmla="*/ 1211841 h 1411866"/>
              <a:gd name="connsiteX29" fmla="*/ 1276350 w 1505789"/>
              <a:gd name="connsiteY29" fmla="*/ 1249941 h 1411866"/>
              <a:gd name="connsiteX30" fmla="*/ 1247775 w 1505789"/>
              <a:gd name="connsiteY30" fmla="*/ 1268991 h 1411866"/>
              <a:gd name="connsiteX31" fmla="*/ 1219200 w 1505789"/>
              <a:gd name="connsiteY31" fmla="*/ 1278516 h 1411866"/>
              <a:gd name="connsiteX32" fmla="*/ 1162050 w 1505789"/>
              <a:gd name="connsiteY32" fmla="*/ 1316616 h 1411866"/>
              <a:gd name="connsiteX33" fmla="*/ 1104900 w 1505789"/>
              <a:gd name="connsiteY33" fmla="*/ 1335666 h 1411866"/>
              <a:gd name="connsiteX34" fmla="*/ 1038225 w 1505789"/>
              <a:gd name="connsiteY34" fmla="*/ 1364241 h 1411866"/>
              <a:gd name="connsiteX35" fmla="*/ 971550 w 1505789"/>
              <a:gd name="connsiteY35" fmla="*/ 1383291 h 1411866"/>
              <a:gd name="connsiteX36" fmla="*/ 800100 w 1505789"/>
              <a:gd name="connsiteY36" fmla="*/ 1392816 h 1411866"/>
              <a:gd name="connsiteX37" fmla="*/ 752475 w 1505789"/>
              <a:gd name="connsiteY37" fmla="*/ 1402341 h 1411866"/>
              <a:gd name="connsiteX38" fmla="*/ 723900 w 1505789"/>
              <a:gd name="connsiteY38" fmla="*/ 1411866 h 1411866"/>
              <a:gd name="connsiteX39" fmla="*/ 504825 w 1505789"/>
              <a:gd name="connsiteY39" fmla="*/ 1402341 h 1411866"/>
              <a:gd name="connsiteX40" fmla="*/ 447675 w 1505789"/>
              <a:gd name="connsiteY40" fmla="*/ 1392816 h 1411866"/>
              <a:gd name="connsiteX41" fmla="*/ 419100 w 1505789"/>
              <a:gd name="connsiteY41" fmla="*/ 1383291 h 1411866"/>
              <a:gd name="connsiteX42" fmla="*/ 409575 w 1505789"/>
              <a:gd name="connsiteY42" fmla="*/ 1354716 h 1411866"/>
              <a:gd name="connsiteX43" fmla="*/ 371475 w 1505789"/>
              <a:gd name="connsiteY43" fmla="*/ 1316616 h 1411866"/>
              <a:gd name="connsiteX44" fmla="*/ 352425 w 1505789"/>
              <a:gd name="connsiteY44" fmla="*/ 1288041 h 1411866"/>
              <a:gd name="connsiteX45" fmla="*/ 304800 w 1505789"/>
              <a:gd name="connsiteY45" fmla="*/ 1278516 h 1411866"/>
              <a:gd name="connsiteX46" fmla="*/ 228600 w 1505789"/>
              <a:gd name="connsiteY46" fmla="*/ 1268991 h 1411866"/>
              <a:gd name="connsiteX47" fmla="*/ 200025 w 1505789"/>
              <a:gd name="connsiteY47" fmla="*/ 1259466 h 1411866"/>
              <a:gd name="connsiteX48" fmla="*/ 180975 w 1505789"/>
              <a:gd name="connsiteY48" fmla="*/ 1230891 h 1411866"/>
              <a:gd name="connsiteX49" fmla="*/ 133350 w 1505789"/>
              <a:gd name="connsiteY49" fmla="*/ 1164216 h 1411866"/>
              <a:gd name="connsiteX50" fmla="*/ 114300 w 1505789"/>
              <a:gd name="connsiteY50" fmla="*/ 1135641 h 1411866"/>
              <a:gd name="connsiteX51" fmla="*/ 95250 w 1505789"/>
              <a:gd name="connsiteY51" fmla="*/ 1078491 h 1411866"/>
              <a:gd name="connsiteX52" fmla="*/ 76200 w 1505789"/>
              <a:gd name="connsiteY52" fmla="*/ 1021341 h 1411866"/>
              <a:gd name="connsiteX53" fmla="*/ 66675 w 1505789"/>
              <a:gd name="connsiteY53" fmla="*/ 992766 h 1411866"/>
              <a:gd name="connsiteX54" fmla="*/ 57150 w 1505789"/>
              <a:gd name="connsiteY54" fmla="*/ 954666 h 1411866"/>
              <a:gd name="connsiteX55" fmla="*/ 47625 w 1505789"/>
              <a:gd name="connsiteY55" fmla="*/ 859416 h 1411866"/>
              <a:gd name="connsiteX56" fmla="*/ 19050 w 1505789"/>
              <a:gd name="connsiteY56" fmla="*/ 830841 h 1411866"/>
              <a:gd name="connsiteX57" fmla="*/ 0 w 1505789"/>
              <a:gd name="connsiteY57" fmla="*/ 764166 h 1411866"/>
              <a:gd name="connsiteX58" fmla="*/ 9525 w 1505789"/>
              <a:gd name="connsiteY58" fmla="*/ 716541 h 1411866"/>
              <a:gd name="connsiteX59" fmla="*/ 19050 w 1505789"/>
              <a:gd name="connsiteY59" fmla="*/ 583191 h 1411866"/>
              <a:gd name="connsiteX60" fmla="*/ 38100 w 1505789"/>
              <a:gd name="connsiteY60" fmla="*/ 554616 h 1411866"/>
              <a:gd name="connsiteX61" fmla="*/ 66675 w 1505789"/>
              <a:gd name="connsiteY61" fmla="*/ 459366 h 1411866"/>
              <a:gd name="connsiteX62" fmla="*/ 85725 w 1505789"/>
              <a:gd name="connsiteY62" fmla="*/ 430791 h 1411866"/>
              <a:gd name="connsiteX63" fmla="*/ 114300 w 1505789"/>
              <a:gd name="connsiteY63" fmla="*/ 411741 h 1411866"/>
              <a:gd name="connsiteX64" fmla="*/ 142875 w 1505789"/>
              <a:gd name="connsiteY64" fmla="*/ 364116 h 1411866"/>
              <a:gd name="connsiteX65" fmla="*/ 171450 w 1505789"/>
              <a:gd name="connsiteY65" fmla="*/ 335541 h 1411866"/>
              <a:gd name="connsiteX66" fmla="*/ 190500 w 1505789"/>
              <a:gd name="connsiteY66" fmla="*/ 278391 h 1411866"/>
              <a:gd name="connsiteX67" fmla="*/ 247650 w 1505789"/>
              <a:gd name="connsiteY67" fmla="*/ 240291 h 1411866"/>
              <a:gd name="connsiteX68" fmla="*/ 276225 w 1505789"/>
              <a:gd name="connsiteY68" fmla="*/ 221241 h 1411866"/>
              <a:gd name="connsiteX69" fmla="*/ 304800 w 1505789"/>
              <a:gd name="connsiteY69" fmla="*/ 211716 h 1411866"/>
              <a:gd name="connsiteX70" fmla="*/ 333375 w 1505789"/>
              <a:gd name="connsiteY70" fmla="*/ 183141 h 1411866"/>
              <a:gd name="connsiteX71" fmla="*/ 409575 w 1505789"/>
              <a:gd name="connsiteY71" fmla="*/ 116466 h 1411866"/>
              <a:gd name="connsiteX72" fmla="*/ 438150 w 1505789"/>
              <a:gd name="connsiteY72" fmla="*/ 106941 h 1411866"/>
              <a:gd name="connsiteX73" fmla="*/ 514350 w 1505789"/>
              <a:gd name="connsiteY73" fmla="*/ 68841 h 1411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1505789" h="1411866">
                <a:moveTo>
                  <a:pt x="514350" y="68841"/>
                </a:moveTo>
                <a:cubicBezTo>
                  <a:pt x="534988" y="60903"/>
                  <a:pt x="546047" y="62212"/>
                  <a:pt x="561975" y="59316"/>
                </a:cubicBezTo>
                <a:cubicBezTo>
                  <a:pt x="580976" y="55861"/>
                  <a:pt x="600241" y="53838"/>
                  <a:pt x="619125" y="49791"/>
                </a:cubicBezTo>
                <a:cubicBezTo>
                  <a:pt x="644726" y="44305"/>
                  <a:pt x="669925" y="37091"/>
                  <a:pt x="695325" y="30741"/>
                </a:cubicBezTo>
                <a:lnTo>
                  <a:pt x="733425" y="21216"/>
                </a:lnTo>
                <a:cubicBezTo>
                  <a:pt x="742950" y="14866"/>
                  <a:pt x="750592" y="3117"/>
                  <a:pt x="762000" y="2166"/>
                </a:cubicBezTo>
                <a:cubicBezTo>
                  <a:pt x="854958" y="-5581"/>
                  <a:pt x="821408" y="9018"/>
                  <a:pt x="876300" y="21216"/>
                </a:cubicBezTo>
                <a:cubicBezTo>
                  <a:pt x="895153" y="25406"/>
                  <a:pt x="914597" y="26551"/>
                  <a:pt x="933450" y="30741"/>
                </a:cubicBezTo>
                <a:cubicBezTo>
                  <a:pt x="943251" y="32919"/>
                  <a:pt x="952180" y="38297"/>
                  <a:pt x="962025" y="40266"/>
                </a:cubicBezTo>
                <a:cubicBezTo>
                  <a:pt x="984040" y="44669"/>
                  <a:pt x="1006611" y="45775"/>
                  <a:pt x="1028700" y="49791"/>
                </a:cubicBezTo>
                <a:cubicBezTo>
                  <a:pt x="1050186" y="53697"/>
                  <a:pt x="1109749" y="71265"/>
                  <a:pt x="1123950" y="78366"/>
                </a:cubicBezTo>
                <a:cubicBezTo>
                  <a:pt x="1255506" y="144144"/>
                  <a:pt x="1074779" y="48761"/>
                  <a:pt x="1190625" y="125991"/>
                </a:cubicBezTo>
                <a:cubicBezTo>
                  <a:pt x="1198979" y="131560"/>
                  <a:pt x="1210220" y="131026"/>
                  <a:pt x="1219200" y="135516"/>
                </a:cubicBezTo>
                <a:cubicBezTo>
                  <a:pt x="1229439" y="140636"/>
                  <a:pt x="1238250" y="148216"/>
                  <a:pt x="1247775" y="154566"/>
                </a:cubicBezTo>
                <a:cubicBezTo>
                  <a:pt x="1250950" y="164091"/>
                  <a:pt x="1252424" y="174364"/>
                  <a:pt x="1257300" y="183141"/>
                </a:cubicBezTo>
                <a:cubicBezTo>
                  <a:pt x="1268419" y="203155"/>
                  <a:pt x="1286381" y="219247"/>
                  <a:pt x="1295400" y="240291"/>
                </a:cubicBezTo>
                <a:cubicBezTo>
                  <a:pt x="1304925" y="262516"/>
                  <a:pt x="1312511" y="285676"/>
                  <a:pt x="1323975" y="306966"/>
                </a:cubicBezTo>
                <a:cubicBezTo>
                  <a:pt x="1334830" y="327125"/>
                  <a:pt x="1349375" y="345066"/>
                  <a:pt x="1362075" y="364116"/>
                </a:cubicBezTo>
                <a:cubicBezTo>
                  <a:pt x="1368425" y="373641"/>
                  <a:pt x="1374256" y="383533"/>
                  <a:pt x="1381125" y="392691"/>
                </a:cubicBezTo>
                <a:cubicBezTo>
                  <a:pt x="1394166" y="410079"/>
                  <a:pt x="1443109" y="473869"/>
                  <a:pt x="1447800" y="487941"/>
                </a:cubicBezTo>
                <a:lnTo>
                  <a:pt x="1457325" y="516516"/>
                </a:lnTo>
                <a:cubicBezTo>
                  <a:pt x="1459005" y="533314"/>
                  <a:pt x="1462864" y="618341"/>
                  <a:pt x="1476375" y="649866"/>
                </a:cubicBezTo>
                <a:cubicBezTo>
                  <a:pt x="1480884" y="660388"/>
                  <a:pt x="1489075" y="668916"/>
                  <a:pt x="1495425" y="678441"/>
                </a:cubicBezTo>
                <a:cubicBezTo>
                  <a:pt x="1504939" y="792614"/>
                  <a:pt x="1512976" y="822281"/>
                  <a:pt x="1495425" y="945141"/>
                </a:cubicBezTo>
                <a:cubicBezTo>
                  <a:pt x="1491530" y="972405"/>
                  <a:pt x="1461317" y="1018763"/>
                  <a:pt x="1447800" y="1040391"/>
                </a:cubicBezTo>
                <a:cubicBezTo>
                  <a:pt x="1441733" y="1050099"/>
                  <a:pt x="1433870" y="1058727"/>
                  <a:pt x="1428750" y="1068966"/>
                </a:cubicBezTo>
                <a:cubicBezTo>
                  <a:pt x="1424260" y="1077946"/>
                  <a:pt x="1424101" y="1088764"/>
                  <a:pt x="1419225" y="1097541"/>
                </a:cubicBezTo>
                <a:cubicBezTo>
                  <a:pt x="1408106" y="1117555"/>
                  <a:pt x="1393825" y="1135641"/>
                  <a:pt x="1381125" y="1154691"/>
                </a:cubicBezTo>
                <a:cubicBezTo>
                  <a:pt x="1364192" y="1180091"/>
                  <a:pt x="1358887" y="1192096"/>
                  <a:pt x="1333500" y="1211841"/>
                </a:cubicBezTo>
                <a:cubicBezTo>
                  <a:pt x="1315428" y="1225897"/>
                  <a:pt x="1295400" y="1237241"/>
                  <a:pt x="1276350" y="1249941"/>
                </a:cubicBezTo>
                <a:cubicBezTo>
                  <a:pt x="1266825" y="1256291"/>
                  <a:pt x="1258635" y="1265371"/>
                  <a:pt x="1247775" y="1268991"/>
                </a:cubicBezTo>
                <a:cubicBezTo>
                  <a:pt x="1238250" y="1272166"/>
                  <a:pt x="1227977" y="1273640"/>
                  <a:pt x="1219200" y="1278516"/>
                </a:cubicBezTo>
                <a:cubicBezTo>
                  <a:pt x="1199186" y="1289635"/>
                  <a:pt x="1183770" y="1309376"/>
                  <a:pt x="1162050" y="1316616"/>
                </a:cubicBezTo>
                <a:cubicBezTo>
                  <a:pt x="1143000" y="1322966"/>
                  <a:pt x="1121608" y="1324527"/>
                  <a:pt x="1104900" y="1335666"/>
                </a:cubicBezTo>
                <a:cubicBezTo>
                  <a:pt x="1061399" y="1364667"/>
                  <a:pt x="1092044" y="1348864"/>
                  <a:pt x="1038225" y="1364241"/>
                </a:cubicBezTo>
                <a:cubicBezTo>
                  <a:pt x="1017175" y="1370255"/>
                  <a:pt x="993386" y="1381306"/>
                  <a:pt x="971550" y="1383291"/>
                </a:cubicBezTo>
                <a:cubicBezTo>
                  <a:pt x="914547" y="1388473"/>
                  <a:pt x="857250" y="1389641"/>
                  <a:pt x="800100" y="1392816"/>
                </a:cubicBezTo>
                <a:cubicBezTo>
                  <a:pt x="784225" y="1395991"/>
                  <a:pt x="768181" y="1398414"/>
                  <a:pt x="752475" y="1402341"/>
                </a:cubicBezTo>
                <a:cubicBezTo>
                  <a:pt x="742735" y="1404776"/>
                  <a:pt x="733940" y="1411866"/>
                  <a:pt x="723900" y="1411866"/>
                </a:cubicBezTo>
                <a:cubicBezTo>
                  <a:pt x="650806" y="1411866"/>
                  <a:pt x="577850" y="1405516"/>
                  <a:pt x="504825" y="1402341"/>
                </a:cubicBezTo>
                <a:cubicBezTo>
                  <a:pt x="485775" y="1399166"/>
                  <a:pt x="466528" y="1397006"/>
                  <a:pt x="447675" y="1392816"/>
                </a:cubicBezTo>
                <a:cubicBezTo>
                  <a:pt x="437874" y="1390638"/>
                  <a:pt x="426200" y="1390391"/>
                  <a:pt x="419100" y="1383291"/>
                </a:cubicBezTo>
                <a:cubicBezTo>
                  <a:pt x="412000" y="1376191"/>
                  <a:pt x="415411" y="1362886"/>
                  <a:pt x="409575" y="1354716"/>
                </a:cubicBezTo>
                <a:cubicBezTo>
                  <a:pt x="399136" y="1340101"/>
                  <a:pt x="383164" y="1330253"/>
                  <a:pt x="371475" y="1316616"/>
                </a:cubicBezTo>
                <a:cubicBezTo>
                  <a:pt x="364025" y="1307924"/>
                  <a:pt x="362364" y="1293721"/>
                  <a:pt x="352425" y="1288041"/>
                </a:cubicBezTo>
                <a:cubicBezTo>
                  <a:pt x="338369" y="1280009"/>
                  <a:pt x="320801" y="1280978"/>
                  <a:pt x="304800" y="1278516"/>
                </a:cubicBezTo>
                <a:cubicBezTo>
                  <a:pt x="279500" y="1274624"/>
                  <a:pt x="254000" y="1272166"/>
                  <a:pt x="228600" y="1268991"/>
                </a:cubicBezTo>
                <a:cubicBezTo>
                  <a:pt x="219075" y="1265816"/>
                  <a:pt x="207865" y="1265738"/>
                  <a:pt x="200025" y="1259466"/>
                </a:cubicBezTo>
                <a:cubicBezTo>
                  <a:pt x="191086" y="1252315"/>
                  <a:pt x="188304" y="1239685"/>
                  <a:pt x="180975" y="1230891"/>
                </a:cubicBezTo>
                <a:cubicBezTo>
                  <a:pt x="117505" y="1154727"/>
                  <a:pt x="184623" y="1253944"/>
                  <a:pt x="133350" y="1164216"/>
                </a:cubicBezTo>
                <a:cubicBezTo>
                  <a:pt x="127670" y="1154277"/>
                  <a:pt x="118949" y="1146102"/>
                  <a:pt x="114300" y="1135641"/>
                </a:cubicBezTo>
                <a:cubicBezTo>
                  <a:pt x="106145" y="1117291"/>
                  <a:pt x="101600" y="1097541"/>
                  <a:pt x="95250" y="1078491"/>
                </a:cubicBezTo>
                <a:lnTo>
                  <a:pt x="76200" y="1021341"/>
                </a:lnTo>
                <a:cubicBezTo>
                  <a:pt x="73025" y="1011816"/>
                  <a:pt x="69110" y="1002506"/>
                  <a:pt x="66675" y="992766"/>
                </a:cubicBezTo>
                <a:lnTo>
                  <a:pt x="57150" y="954666"/>
                </a:lnTo>
                <a:cubicBezTo>
                  <a:pt x="53975" y="922916"/>
                  <a:pt x="57009" y="889913"/>
                  <a:pt x="47625" y="859416"/>
                </a:cubicBezTo>
                <a:cubicBezTo>
                  <a:pt x="43664" y="846541"/>
                  <a:pt x="26522" y="842049"/>
                  <a:pt x="19050" y="830841"/>
                </a:cubicBezTo>
                <a:cubicBezTo>
                  <a:pt x="13584" y="822642"/>
                  <a:pt x="1270" y="769247"/>
                  <a:pt x="0" y="764166"/>
                </a:cubicBezTo>
                <a:cubicBezTo>
                  <a:pt x="3175" y="748291"/>
                  <a:pt x="7830" y="732641"/>
                  <a:pt x="9525" y="716541"/>
                </a:cubicBezTo>
                <a:cubicBezTo>
                  <a:pt x="14190" y="672223"/>
                  <a:pt x="11306" y="627076"/>
                  <a:pt x="19050" y="583191"/>
                </a:cubicBezTo>
                <a:cubicBezTo>
                  <a:pt x="21039" y="571918"/>
                  <a:pt x="31750" y="564141"/>
                  <a:pt x="38100" y="554616"/>
                </a:cubicBezTo>
                <a:cubicBezTo>
                  <a:pt x="43425" y="533318"/>
                  <a:pt x="57399" y="473280"/>
                  <a:pt x="66675" y="459366"/>
                </a:cubicBezTo>
                <a:cubicBezTo>
                  <a:pt x="73025" y="449841"/>
                  <a:pt x="77630" y="438886"/>
                  <a:pt x="85725" y="430791"/>
                </a:cubicBezTo>
                <a:cubicBezTo>
                  <a:pt x="93820" y="422696"/>
                  <a:pt x="104775" y="418091"/>
                  <a:pt x="114300" y="411741"/>
                </a:cubicBezTo>
                <a:cubicBezTo>
                  <a:pt x="123825" y="395866"/>
                  <a:pt x="131767" y="378927"/>
                  <a:pt x="142875" y="364116"/>
                </a:cubicBezTo>
                <a:cubicBezTo>
                  <a:pt x="150957" y="353340"/>
                  <a:pt x="164908" y="347316"/>
                  <a:pt x="171450" y="335541"/>
                </a:cubicBezTo>
                <a:cubicBezTo>
                  <a:pt x="181202" y="317988"/>
                  <a:pt x="173792" y="289530"/>
                  <a:pt x="190500" y="278391"/>
                </a:cubicBezTo>
                <a:lnTo>
                  <a:pt x="247650" y="240291"/>
                </a:lnTo>
                <a:cubicBezTo>
                  <a:pt x="257175" y="233941"/>
                  <a:pt x="265365" y="224861"/>
                  <a:pt x="276225" y="221241"/>
                </a:cubicBezTo>
                <a:lnTo>
                  <a:pt x="304800" y="211716"/>
                </a:lnTo>
                <a:cubicBezTo>
                  <a:pt x="314325" y="202191"/>
                  <a:pt x="324751" y="193489"/>
                  <a:pt x="333375" y="183141"/>
                </a:cubicBezTo>
                <a:cubicBezTo>
                  <a:pt x="363293" y="147239"/>
                  <a:pt x="346563" y="137470"/>
                  <a:pt x="409575" y="116466"/>
                </a:cubicBezTo>
                <a:cubicBezTo>
                  <a:pt x="419100" y="113291"/>
                  <a:pt x="428496" y="109699"/>
                  <a:pt x="438150" y="106941"/>
                </a:cubicBezTo>
                <a:cubicBezTo>
                  <a:pt x="482729" y="94204"/>
                  <a:pt x="493712" y="76779"/>
                  <a:pt x="514350" y="68841"/>
                </a:cubicBezTo>
                <a:close/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Freeform 4"/>
          <p:cNvSpPr/>
          <p:nvPr/>
        </p:nvSpPr>
        <p:spPr>
          <a:xfrm>
            <a:off x="5772150" y="4124325"/>
            <a:ext cx="715592" cy="2714625"/>
          </a:xfrm>
          <a:custGeom>
            <a:avLst/>
            <a:gdLst>
              <a:gd name="connsiteX0" fmla="*/ 314325 w 715592"/>
              <a:gd name="connsiteY0" fmla="*/ 0 h 2714625"/>
              <a:gd name="connsiteX1" fmla="*/ 323850 w 715592"/>
              <a:gd name="connsiteY1" fmla="*/ 295275 h 2714625"/>
              <a:gd name="connsiteX2" fmla="*/ 314325 w 715592"/>
              <a:gd name="connsiteY2" fmla="*/ 523875 h 2714625"/>
              <a:gd name="connsiteX3" fmla="*/ 304800 w 715592"/>
              <a:gd name="connsiteY3" fmla="*/ 581025 h 2714625"/>
              <a:gd name="connsiteX4" fmla="*/ 285750 w 715592"/>
              <a:gd name="connsiteY4" fmla="*/ 609600 h 2714625"/>
              <a:gd name="connsiteX5" fmla="*/ 276225 w 715592"/>
              <a:gd name="connsiteY5" fmla="*/ 647700 h 2714625"/>
              <a:gd name="connsiteX6" fmla="*/ 257175 w 715592"/>
              <a:gd name="connsiteY6" fmla="*/ 742950 h 2714625"/>
              <a:gd name="connsiteX7" fmla="*/ 219075 w 715592"/>
              <a:gd name="connsiteY7" fmla="*/ 847725 h 2714625"/>
              <a:gd name="connsiteX8" fmla="*/ 200025 w 715592"/>
              <a:gd name="connsiteY8" fmla="*/ 933450 h 2714625"/>
              <a:gd name="connsiteX9" fmla="*/ 180975 w 715592"/>
              <a:gd name="connsiteY9" fmla="*/ 962025 h 2714625"/>
              <a:gd name="connsiteX10" fmla="*/ 161925 w 715592"/>
              <a:gd name="connsiteY10" fmla="*/ 1000125 h 2714625"/>
              <a:gd name="connsiteX11" fmla="*/ 85725 w 715592"/>
              <a:gd name="connsiteY11" fmla="*/ 1076325 h 2714625"/>
              <a:gd name="connsiteX12" fmla="*/ 47625 w 715592"/>
              <a:gd name="connsiteY12" fmla="*/ 1133475 h 2714625"/>
              <a:gd name="connsiteX13" fmla="*/ 38100 w 715592"/>
              <a:gd name="connsiteY13" fmla="*/ 1171575 h 2714625"/>
              <a:gd name="connsiteX14" fmla="*/ 19050 w 715592"/>
              <a:gd name="connsiteY14" fmla="*/ 1200150 h 2714625"/>
              <a:gd name="connsiteX15" fmla="*/ 0 w 715592"/>
              <a:gd name="connsiteY15" fmla="*/ 1390650 h 2714625"/>
              <a:gd name="connsiteX16" fmla="*/ 9525 w 715592"/>
              <a:gd name="connsiteY16" fmla="*/ 1514475 h 2714625"/>
              <a:gd name="connsiteX17" fmla="*/ 28575 w 715592"/>
              <a:gd name="connsiteY17" fmla="*/ 1543050 h 2714625"/>
              <a:gd name="connsiteX18" fmla="*/ 85725 w 715592"/>
              <a:gd name="connsiteY18" fmla="*/ 1638300 h 2714625"/>
              <a:gd name="connsiteX19" fmla="*/ 104775 w 715592"/>
              <a:gd name="connsiteY19" fmla="*/ 1666875 h 2714625"/>
              <a:gd name="connsiteX20" fmla="*/ 133350 w 715592"/>
              <a:gd name="connsiteY20" fmla="*/ 1685925 h 2714625"/>
              <a:gd name="connsiteX21" fmla="*/ 152400 w 715592"/>
              <a:gd name="connsiteY21" fmla="*/ 1724025 h 2714625"/>
              <a:gd name="connsiteX22" fmla="*/ 180975 w 715592"/>
              <a:gd name="connsiteY22" fmla="*/ 1752600 h 2714625"/>
              <a:gd name="connsiteX23" fmla="*/ 219075 w 715592"/>
              <a:gd name="connsiteY23" fmla="*/ 1809750 h 2714625"/>
              <a:gd name="connsiteX24" fmla="*/ 266700 w 715592"/>
              <a:gd name="connsiteY24" fmla="*/ 1876425 h 2714625"/>
              <a:gd name="connsiteX25" fmla="*/ 304800 w 715592"/>
              <a:gd name="connsiteY25" fmla="*/ 1924050 h 2714625"/>
              <a:gd name="connsiteX26" fmla="*/ 323850 w 715592"/>
              <a:gd name="connsiteY26" fmla="*/ 1962150 h 2714625"/>
              <a:gd name="connsiteX27" fmla="*/ 361950 w 715592"/>
              <a:gd name="connsiteY27" fmla="*/ 1981200 h 2714625"/>
              <a:gd name="connsiteX28" fmla="*/ 381000 w 715592"/>
              <a:gd name="connsiteY28" fmla="*/ 2009775 h 2714625"/>
              <a:gd name="connsiteX29" fmla="*/ 390525 w 715592"/>
              <a:gd name="connsiteY29" fmla="*/ 2038350 h 2714625"/>
              <a:gd name="connsiteX30" fmla="*/ 457200 w 715592"/>
              <a:gd name="connsiteY30" fmla="*/ 2105025 h 2714625"/>
              <a:gd name="connsiteX31" fmla="*/ 504825 w 715592"/>
              <a:gd name="connsiteY31" fmla="*/ 2171700 h 2714625"/>
              <a:gd name="connsiteX32" fmla="*/ 542925 w 715592"/>
              <a:gd name="connsiteY32" fmla="*/ 2238375 h 2714625"/>
              <a:gd name="connsiteX33" fmla="*/ 581025 w 715592"/>
              <a:gd name="connsiteY33" fmla="*/ 2276475 h 2714625"/>
              <a:gd name="connsiteX34" fmla="*/ 619125 w 715592"/>
              <a:gd name="connsiteY34" fmla="*/ 2324100 h 2714625"/>
              <a:gd name="connsiteX35" fmla="*/ 628650 w 715592"/>
              <a:gd name="connsiteY35" fmla="*/ 2352675 h 2714625"/>
              <a:gd name="connsiteX36" fmla="*/ 666750 w 715592"/>
              <a:gd name="connsiteY36" fmla="*/ 2419350 h 2714625"/>
              <a:gd name="connsiteX37" fmla="*/ 695325 w 715592"/>
              <a:gd name="connsiteY37" fmla="*/ 2466975 h 2714625"/>
              <a:gd name="connsiteX38" fmla="*/ 704850 w 715592"/>
              <a:gd name="connsiteY38" fmla="*/ 2505075 h 2714625"/>
              <a:gd name="connsiteX39" fmla="*/ 714375 w 715592"/>
              <a:gd name="connsiteY39" fmla="*/ 2533650 h 2714625"/>
              <a:gd name="connsiteX40" fmla="*/ 714375 w 715592"/>
              <a:gd name="connsiteY40" fmla="*/ 2714625 h 2714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715592" h="2714625">
                <a:moveTo>
                  <a:pt x="314325" y="0"/>
                </a:moveTo>
                <a:cubicBezTo>
                  <a:pt x="317500" y="98425"/>
                  <a:pt x="323850" y="196799"/>
                  <a:pt x="323850" y="295275"/>
                </a:cubicBezTo>
                <a:cubicBezTo>
                  <a:pt x="323850" y="371541"/>
                  <a:pt x="319398" y="447778"/>
                  <a:pt x="314325" y="523875"/>
                </a:cubicBezTo>
                <a:cubicBezTo>
                  <a:pt x="313040" y="543145"/>
                  <a:pt x="310907" y="562703"/>
                  <a:pt x="304800" y="581025"/>
                </a:cubicBezTo>
                <a:cubicBezTo>
                  <a:pt x="301180" y="591885"/>
                  <a:pt x="292100" y="600075"/>
                  <a:pt x="285750" y="609600"/>
                </a:cubicBezTo>
                <a:cubicBezTo>
                  <a:pt x="282575" y="622300"/>
                  <a:pt x="278968" y="634900"/>
                  <a:pt x="276225" y="647700"/>
                </a:cubicBezTo>
                <a:cubicBezTo>
                  <a:pt x="269441" y="679360"/>
                  <a:pt x="269200" y="712887"/>
                  <a:pt x="257175" y="742950"/>
                </a:cubicBezTo>
                <a:cubicBezTo>
                  <a:pt x="243162" y="777983"/>
                  <a:pt x="228858" y="811040"/>
                  <a:pt x="219075" y="847725"/>
                </a:cubicBezTo>
                <a:cubicBezTo>
                  <a:pt x="211533" y="876009"/>
                  <a:pt x="209282" y="905680"/>
                  <a:pt x="200025" y="933450"/>
                </a:cubicBezTo>
                <a:cubicBezTo>
                  <a:pt x="196405" y="944310"/>
                  <a:pt x="186655" y="952086"/>
                  <a:pt x="180975" y="962025"/>
                </a:cubicBezTo>
                <a:cubicBezTo>
                  <a:pt x="173930" y="974353"/>
                  <a:pt x="170068" y="988493"/>
                  <a:pt x="161925" y="1000125"/>
                </a:cubicBezTo>
                <a:cubicBezTo>
                  <a:pt x="123457" y="1055079"/>
                  <a:pt x="127322" y="1048594"/>
                  <a:pt x="85725" y="1076325"/>
                </a:cubicBezTo>
                <a:cubicBezTo>
                  <a:pt x="55986" y="1165542"/>
                  <a:pt x="104704" y="1033586"/>
                  <a:pt x="47625" y="1133475"/>
                </a:cubicBezTo>
                <a:cubicBezTo>
                  <a:pt x="41130" y="1144841"/>
                  <a:pt x="43257" y="1159543"/>
                  <a:pt x="38100" y="1171575"/>
                </a:cubicBezTo>
                <a:cubicBezTo>
                  <a:pt x="33591" y="1182097"/>
                  <a:pt x="25400" y="1190625"/>
                  <a:pt x="19050" y="1200150"/>
                </a:cubicBezTo>
                <a:cubicBezTo>
                  <a:pt x="12583" y="1251882"/>
                  <a:pt x="0" y="1344047"/>
                  <a:pt x="0" y="1390650"/>
                </a:cubicBezTo>
                <a:cubicBezTo>
                  <a:pt x="0" y="1432047"/>
                  <a:pt x="1896" y="1473787"/>
                  <a:pt x="9525" y="1514475"/>
                </a:cubicBezTo>
                <a:cubicBezTo>
                  <a:pt x="11635" y="1525727"/>
                  <a:pt x="22895" y="1533111"/>
                  <a:pt x="28575" y="1543050"/>
                </a:cubicBezTo>
                <a:cubicBezTo>
                  <a:pt x="87153" y="1645562"/>
                  <a:pt x="-7478" y="1498495"/>
                  <a:pt x="85725" y="1638300"/>
                </a:cubicBezTo>
                <a:cubicBezTo>
                  <a:pt x="92075" y="1647825"/>
                  <a:pt x="95250" y="1660525"/>
                  <a:pt x="104775" y="1666875"/>
                </a:cubicBezTo>
                <a:lnTo>
                  <a:pt x="133350" y="1685925"/>
                </a:lnTo>
                <a:cubicBezTo>
                  <a:pt x="139700" y="1698625"/>
                  <a:pt x="144147" y="1712471"/>
                  <a:pt x="152400" y="1724025"/>
                </a:cubicBezTo>
                <a:cubicBezTo>
                  <a:pt x="160230" y="1734986"/>
                  <a:pt x="174292" y="1740904"/>
                  <a:pt x="180975" y="1752600"/>
                </a:cubicBezTo>
                <a:cubicBezTo>
                  <a:pt x="218826" y="1818839"/>
                  <a:pt x="157266" y="1768544"/>
                  <a:pt x="219075" y="1809750"/>
                </a:cubicBezTo>
                <a:cubicBezTo>
                  <a:pt x="235964" y="1860417"/>
                  <a:pt x="218487" y="1822186"/>
                  <a:pt x="266700" y="1876425"/>
                </a:cubicBezTo>
                <a:cubicBezTo>
                  <a:pt x="280206" y="1891620"/>
                  <a:pt x="293523" y="1907134"/>
                  <a:pt x="304800" y="1924050"/>
                </a:cubicBezTo>
                <a:cubicBezTo>
                  <a:pt x="312676" y="1935864"/>
                  <a:pt x="313810" y="1952110"/>
                  <a:pt x="323850" y="1962150"/>
                </a:cubicBezTo>
                <a:cubicBezTo>
                  <a:pt x="333890" y="1972190"/>
                  <a:pt x="349250" y="1974850"/>
                  <a:pt x="361950" y="1981200"/>
                </a:cubicBezTo>
                <a:cubicBezTo>
                  <a:pt x="368300" y="1990725"/>
                  <a:pt x="375880" y="1999536"/>
                  <a:pt x="381000" y="2009775"/>
                </a:cubicBezTo>
                <a:cubicBezTo>
                  <a:pt x="385490" y="2018755"/>
                  <a:pt x="384253" y="2030510"/>
                  <a:pt x="390525" y="2038350"/>
                </a:cubicBezTo>
                <a:cubicBezTo>
                  <a:pt x="410160" y="2062893"/>
                  <a:pt x="443144" y="2076912"/>
                  <a:pt x="457200" y="2105025"/>
                </a:cubicBezTo>
                <a:cubicBezTo>
                  <a:pt x="492450" y="2175525"/>
                  <a:pt x="456556" y="2113777"/>
                  <a:pt x="504825" y="2171700"/>
                </a:cubicBezTo>
                <a:cubicBezTo>
                  <a:pt x="568598" y="2248227"/>
                  <a:pt x="473053" y="2145212"/>
                  <a:pt x="542925" y="2238375"/>
                </a:cubicBezTo>
                <a:cubicBezTo>
                  <a:pt x="553701" y="2252743"/>
                  <a:pt x="569093" y="2263051"/>
                  <a:pt x="581025" y="2276475"/>
                </a:cubicBezTo>
                <a:cubicBezTo>
                  <a:pt x="594531" y="2291670"/>
                  <a:pt x="606425" y="2308225"/>
                  <a:pt x="619125" y="2324100"/>
                </a:cubicBezTo>
                <a:cubicBezTo>
                  <a:pt x="622300" y="2333625"/>
                  <a:pt x="624695" y="2343447"/>
                  <a:pt x="628650" y="2352675"/>
                </a:cubicBezTo>
                <a:cubicBezTo>
                  <a:pt x="646388" y="2394063"/>
                  <a:pt x="645009" y="2384565"/>
                  <a:pt x="666750" y="2419350"/>
                </a:cubicBezTo>
                <a:cubicBezTo>
                  <a:pt x="676562" y="2435049"/>
                  <a:pt x="685800" y="2451100"/>
                  <a:pt x="695325" y="2466975"/>
                </a:cubicBezTo>
                <a:cubicBezTo>
                  <a:pt x="698500" y="2479675"/>
                  <a:pt x="701254" y="2492488"/>
                  <a:pt x="704850" y="2505075"/>
                </a:cubicBezTo>
                <a:cubicBezTo>
                  <a:pt x="707608" y="2514729"/>
                  <a:pt x="713919" y="2523620"/>
                  <a:pt x="714375" y="2533650"/>
                </a:cubicBezTo>
                <a:cubicBezTo>
                  <a:pt x="717114" y="2593913"/>
                  <a:pt x="714375" y="2654300"/>
                  <a:pt x="714375" y="2714625"/>
                </a:cubicBezTo>
              </a:path>
            </a:pathLst>
          </a:cu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Freeform 5"/>
          <p:cNvSpPr/>
          <p:nvPr/>
        </p:nvSpPr>
        <p:spPr>
          <a:xfrm>
            <a:off x="2895600" y="3867150"/>
            <a:ext cx="2590800" cy="3019425"/>
          </a:xfrm>
          <a:custGeom>
            <a:avLst/>
            <a:gdLst>
              <a:gd name="connsiteX0" fmla="*/ 2590800 w 2590800"/>
              <a:gd name="connsiteY0" fmla="*/ 0 h 3019425"/>
              <a:gd name="connsiteX1" fmla="*/ 2495550 w 2590800"/>
              <a:gd name="connsiteY1" fmla="*/ 95250 h 3019425"/>
              <a:gd name="connsiteX2" fmla="*/ 2381250 w 2590800"/>
              <a:gd name="connsiteY2" fmla="*/ 152400 h 3019425"/>
              <a:gd name="connsiteX3" fmla="*/ 2333625 w 2590800"/>
              <a:gd name="connsiteY3" fmla="*/ 200025 h 3019425"/>
              <a:gd name="connsiteX4" fmla="*/ 2247900 w 2590800"/>
              <a:gd name="connsiteY4" fmla="*/ 266700 h 3019425"/>
              <a:gd name="connsiteX5" fmla="*/ 2209800 w 2590800"/>
              <a:gd name="connsiteY5" fmla="*/ 285750 h 3019425"/>
              <a:gd name="connsiteX6" fmla="*/ 2171700 w 2590800"/>
              <a:gd name="connsiteY6" fmla="*/ 323850 h 3019425"/>
              <a:gd name="connsiteX7" fmla="*/ 2047875 w 2590800"/>
              <a:gd name="connsiteY7" fmla="*/ 428625 h 3019425"/>
              <a:gd name="connsiteX8" fmla="*/ 1971675 w 2590800"/>
              <a:gd name="connsiteY8" fmla="*/ 523875 h 3019425"/>
              <a:gd name="connsiteX9" fmla="*/ 1924050 w 2590800"/>
              <a:gd name="connsiteY9" fmla="*/ 552450 h 3019425"/>
              <a:gd name="connsiteX10" fmla="*/ 1866900 w 2590800"/>
              <a:gd name="connsiteY10" fmla="*/ 590550 h 3019425"/>
              <a:gd name="connsiteX11" fmla="*/ 1781175 w 2590800"/>
              <a:gd name="connsiteY11" fmla="*/ 685800 h 3019425"/>
              <a:gd name="connsiteX12" fmla="*/ 1724025 w 2590800"/>
              <a:gd name="connsiteY12" fmla="*/ 723900 h 3019425"/>
              <a:gd name="connsiteX13" fmla="*/ 1676400 w 2590800"/>
              <a:gd name="connsiteY13" fmla="*/ 742950 h 3019425"/>
              <a:gd name="connsiteX14" fmla="*/ 1609725 w 2590800"/>
              <a:gd name="connsiteY14" fmla="*/ 800100 h 3019425"/>
              <a:gd name="connsiteX15" fmla="*/ 1552575 w 2590800"/>
              <a:gd name="connsiteY15" fmla="*/ 838200 h 3019425"/>
              <a:gd name="connsiteX16" fmla="*/ 1447800 w 2590800"/>
              <a:gd name="connsiteY16" fmla="*/ 933450 h 3019425"/>
              <a:gd name="connsiteX17" fmla="*/ 1390650 w 2590800"/>
              <a:gd name="connsiteY17" fmla="*/ 962025 h 3019425"/>
              <a:gd name="connsiteX18" fmla="*/ 1295400 w 2590800"/>
              <a:gd name="connsiteY18" fmla="*/ 1038225 h 3019425"/>
              <a:gd name="connsiteX19" fmla="*/ 1219200 w 2590800"/>
              <a:gd name="connsiteY19" fmla="*/ 1076325 h 3019425"/>
              <a:gd name="connsiteX20" fmla="*/ 1171575 w 2590800"/>
              <a:gd name="connsiteY20" fmla="*/ 1123950 h 3019425"/>
              <a:gd name="connsiteX21" fmla="*/ 1047750 w 2590800"/>
              <a:gd name="connsiteY21" fmla="*/ 1219200 h 3019425"/>
              <a:gd name="connsiteX22" fmla="*/ 1009650 w 2590800"/>
              <a:gd name="connsiteY22" fmla="*/ 1247775 h 3019425"/>
              <a:gd name="connsiteX23" fmla="*/ 952500 w 2590800"/>
              <a:gd name="connsiteY23" fmla="*/ 1304925 h 3019425"/>
              <a:gd name="connsiteX24" fmla="*/ 923925 w 2590800"/>
              <a:gd name="connsiteY24" fmla="*/ 1333500 h 3019425"/>
              <a:gd name="connsiteX25" fmla="*/ 895350 w 2590800"/>
              <a:gd name="connsiteY25" fmla="*/ 1343025 h 3019425"/>
              <a:gd name="connsiteX26" fmla="*/ 800100 w 2590800"/>
              <a:gd name="connsiteY26" fmla="*/ 1409700 h 3019425"/>
              <a:gd name="connsiteX27" fmla="*/ 771525 w 2590800"/>
              <a:gd name="connsiteY27" fmla="*/ 1428750 h 3019425"/>
              <a:gd name="connsiteX28" fmla="*/ 742950 w 2590800"/>
              <a:gd name="connsiteY28" fmla="*/ 1438275 h 3019425"/>
              <a:gd name="connsiteX29" fmla="*/ 695325 w 2590800"/>
              <a:gd name="connsiteY29" fmla="*/ 1457325 h 3019425"/>
              <a:gd name="connsiteX30" fmla="*/ 638175 w 2590800"/>
              <a:gd name="connsiteY30" fmla="*/ 1504950 h 3019425"/>
              <a:gd name="connsiteX31" fmla="*/ 581025 w 2590800"/>
              <a:gd name="connsiteY31" fmla="*/ 1524000 h 3019425"/>
              <a:gd name="connsiteX32" fmla="*/ 523875 w 2590800"/>
              <a:gd name="connsiteY32" fmla="*/ 1562100 h 3019425"/>
              <a:gd name="connsiteX33" fmla="*/ 495300 w 2590800"/>
              <a:gd name="connsiteY33" fmla="*/ 1581150 h 3019425"/>
              <a:gd name="connsiteX34" fmla="*/ 466725 w 2590800"/>
              <a:gd name="connsiteY34" fmla="*/ 1590675 h 3019425"/>
              <a:gd name="connsiteX35" fmla="*/ 447675 w 2590800"/>
              <a:gd name="connsiteY35" fmla="*/ 1628775 h 3019425"/>
              <a:gd name="connsiteX36" fmla="*/ 390525 w 2590800"/>
              <a:gd name="connsiteY36" fmla="*/ 1666875 h 3019425"/>
              <a:gd name="connsiteX37" fmla="*/ 352425 w 2590800"/>
              <a:gd name="connsiteY37" fmla="*/ 1724025 h 3019425"/>
              <a:gd name="connsiteX38" fmla="*/ 333375 w 2590800"/>
              <a:gd name="connsiteY38" fmla="*/ 1752600 h 3019425"/>
              <a:gd name="connsiteX39" fmla="*/ 304800 w 2590800"/>
              <a:gd name="connsiteY39" fmla="*/ 1847850 h 3019425"/>
              <a:gd name="connsiteX40" fmla="*/ 285750 w 2590800"/>
              <a:gd name="connsiteY40" fmla="*/ 1895475 h 3019425"/>
              <a:gd name="connsiteX41" fmla="*/ 276225 w 2590800"/>
              <a:gd name="connsiteY41" fmla="*/ 1943100 h 3019425"/>
              <a:gd name="connsiteX42" fmla="*/ 266700 w 2590800"/>
              <a:gd name="connsiteY42" fmla="*/ 1971675 h 3019425"/>
              <a:gd name="connsiteX43" fmla="*/ 257175 w 2590800"/>
              <a:gd name="connsiteY43" fmla="*/ 2038350 h 3019425"/>
              <a:gd name="connsiteX44" fmla="*/ 238125 w 2590800"/>
              <a:gd name="connsiteY44" fmla="*/ 2076450 h 3019425"/>
              <a:gd name="connsiteX45" fmla="*/ 228600 w 2590800"/>
              <a:gd name="connsiteY45" fmla="*/ 2105025 h 3019425"/>
              <a:gd name="connsiteX46" fmla="*/ 200025 w 2590800"/>
              <a:gd name="connsiteY46" fmla="*/ 2181225 h 3019425"/>
              <a:gd name="connsiteX47" fmla="*/ 190500 w 2590800"/>
              <a:gd name="connsiteY47" fmla="*/ 2247900 h 3019425"/>
              <a:gd name="connsiteX48" fmla="*/ 180975 w 2590800"/>
              <a:gd name="connsiteY48" fmla="*/ 2276475 h 3019425"/>
              <a:gd name="connsiteX49" fmla="*/ 171450 w 2590800"/>
              <a:gd name="connsiteY49" fmla="*/ 2314575 h 3019425"/>
              <a:gd name="connsiteX50" fmla="*/ 161925 w 2590800"/>
              <a:gd name="connsiteY50" fmla="*/ 2343150 h 3019425"/>
              <a:gd name="connsiteX51" fmla="*/ 152400 w 2590800"/>
              <a:gd name="connsiteY51" fmla="*/ 2381250 h 3019425"/>
              <a:gd name="connsiteX52" fmla="*/ 142875 w 2590800"/>
              <a:gd name="connsiteY52" fmla="*/ 2409825 h 3019425"/>
              <a:gd name="connsiteX53" fmla="*/ 123825 w 2590800"/>
              <a:gd name="connsiteY53" fmla="*/ 2514600 h 3019425"/>
              <a:gd name="connsiteX54" fmla="*/ 114300 w 2590800"/>
              <a:gd name="connsiteY54" fmla="*/ 2552700 h 3019425"/>
              <a:gd name="connsiteX55" fmla="*/ 85725 w 2590800"/>
              <a:gd name="connsiteY55" fmla="*/ 2609850 h 3019425"/>
              <a:gd name="connsiteX56" fmla="*/ 76200 w 2590800"/>
              <a:gd name="connsiteY56" fmla="*/ 2686050 h 3019425"/>
              <a:gd name="connsiteX57" fmla="*/ 57150 w 2590800"/>
              <a:gd name="connsiteY57" fmla="*/ 2743200 h 3019425"/>
              <a:gd name="connsiteX58" fmla="*/ 47625 w 2590800"/>
              <a:gd name="connsiteY58" fmla="*/ 2838450 h 3019425"/>
              <a:gd name="connsiteX59" fmla="*/ 28575 w 2590800"/>
              <a:gd name="connsiteY59" fmla="*/ 2867025 h 3019425"/>
              <a:gd name="connsiteX60" fmla="*/ 19050 w 2590800"/>
              <a:gd name="connsiteY60" fmla="*/ 2933700 h 3019425"/>
              <a:gd name="connsiteX61" fmla="*/ 0 w 2590800"/>
              <a:gd name="connsiteY61" fmla="*/ 2990850 h 3019425"/>
              <a:gd name="connsiteX62" fmla="*/ 57150 w 2590800"/>
              <a:gd name="connsiteY62" fmla="*/ 3000375 h 3019425"/>
              <a:gd name="connsiteX63" fmla="*/ 133350 w 2590800"/>
              <a:gd name="connsiteY63" fmla="*/ 3019425 h 3019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590800" h="3019425">
                <a:moveTo>
                  <a:pt x="2590800" y="0"/>
                </a:moveTo>
                <a:cubicBezTo>
                  <a:pt x="2563274" y="34407"/>
                  <a:pt x="2536450" y="74800"/>
                  <a:pt x="2495550" y="95250"/>
                </a:cubicBezTo>
                <a:cubicBezTo>
                  <a:pt x="2411120" y="137465"/>
                  <a:pt x="2556638" y="27123"/>
                  <a:pt x="2381250" y="152400"/>
                </a:cubicBezTo>
                <a:cubicBezTo>
                  <a:pt x="2362981" y="165449"/>
                  <a:pt x="2350671" y="185414"/>
                  <a:pt x="2333625" y="200025"/>
                </a:cubicBezTo>
                <a:cubicBezTo>
                  <a:pt x="2306139" y="223584"/>
                  <a:pt x="2277664" y="246094"/>
                  <a:pt x="2247900" y="266700"/>
                </a:cubicBezTo>
                <a:cubicBezTo>
                  <a:pt x="2236226" y="274782"/>
                  <a:pt x="2221159" y="277231"/>
                  <a:pt x="2209800" y="285750"/>
                </a:cubicBezTo>
                <a:cubicBezTo>
                  <a:pt x="2195432" y="296526"/>
                  <a:pt x="2185337" y="312161"/>
                  <a:pt x="2171700" y="323850"/>
                </a:cubicBezTo>
                <a:cubicBezTo>
                  <a:pt x="2144216" y="347408"/>
                  <a:pt x="2079266" y="391527"/>
                  <a:pt x="2047875" y="428625"/>
                </a:cubicBezTo>
                <a:cubicBezTo>
                  <a:pt x="2021611" y="459664"/>
                  <a:pt x="2000426" y="495124"/>
                  <a:pt x="1971675" y="523875"/>
                </a:cubicBezTo>
                <a:cubicBezTo>
                  <a:pt x="1958584" y="536966"/>
                  <a:pt x="1939669" y="542511"/>
                  <a:pt x="1924050" y="552450"/>
                </a:cubicBezTo>
                <a:cubicBezTo>
                  <a:pt x="1904734" y="564742"/>
                  <a:pt x="1885950" y="577850"/>
                  <a:pt x="1866900" y="590550"/>
                </a:cubicBezTo>
                <a:cubicBezTo>
                  <a:pt x="1841308" y="628938"/>
                  <a:pt x="1826037" y="655892"/>
                  <a:pt x="1781175" y="685800"/>
                </a:cubicBezTo>
                <a:cubicBezTo>
                  <a:pt x="1762125" y="698500"/>
                  <a:pt x="1745283" y="715397"/>
                  <a:pt x="1724025" y="723900"/>
                </a:cubicBezTo>
                <a:lnTo>
                  <a:pt x="1676400" y="742950"/>
                </a:lnTo>
                <a:cubicBezTo>
                  <a:pt x="1654175" y="762000"/>
                  <a:pt x="1632927" y="782253"/>
                  <a:pt x="1609725" y="800100"/>
                </a:cubicBezTo>
                <a:cubicBezTo>
                  <a:pt x="1591578" y="814059"/>
                  <a:pt x="1570249" y="823645"/>
                  <a:pt x="1552575" y="838200"/>
                </a:cubicBezTo>
                <a:cubicBezTo>
                  <a:pt x="1516140" y="868205"/>
                  <a:pt x="1485294" y="904778"/>
                  <a:pt x="1447800" y="933450"/>
                </a:cubicBezTo>
                <a:cubicBezTo>
                  <a:pt x="1430881" y="946388"/>
                  <a:pt x="1408201" y="949959"/>
                  <a:pt x="1390650" y="962025"/>
                </a:cubicBezTo>
                <a:cubicBezTo>
                  <a:pt x="1357145" y="985060"/>
                  <a:pt x="1331767" y="1020041"/>
                  <a:pt x="1295400" y="1038225"/>
                </a:cubicBezTo>
                <a:cubicBezTo>
                  <a:pt x="1270000" y="1050925"/>
                  <a:pt x="1242549" y="1060161"/>
                  <a:pt x="1219200" y="1076325"/>
                </a:cubicBezTo>
                <a:cubicBezTo>
                  <a:pt x="1200741" y="1089104"/>
                  <a:pt x="1188822" y="1109577"/>
                  <a:pt x="1171575" y="1123950"/>
                </a:cubicBezTo>
                <a:cubicBezTo>
                  <a:pt x="1131571" y="1157287"/>
                  <a:pt x="1089115" y="1187568"/>
                  <a:pt x="1047750" y="1219200"/>
                </a:cubicBezTo>
                <a:cubicBezTo>
                  <a:pt x="1035140" y="1228843"/>
                  <a:pt x="1019175" y="1235075"/>
                  <a:pt x="1009650" y="1247775"/>
                </a:cubicBezTo>
                <a:cubicBezTo>
                  <a:pt x="954892" y="1320786"/>
                  <a:pt x="1008212" y="1258499"/>
                  <a:pt x="952500" y="1304925"/>
                </a:cubicBezTo>
                <a:cubicBezTo>
                  <a:pt x="942152" y="1313549"/>
                  <a:pt x="935133" y="1326028"/>
                  <a:pt x="923925" y="1333500"/>
                </a:cubicBezTo>
                <a:cubicBezTo>
                  <a:pt x="915571" y="1339069"/>
                  <a:pt x="904127" y="1338149"/>
                  <a:pt x="895350" y="1343025"/>
                </a:cubicBezTo>
                <a:cubicBezTo>
                  <a:pt x="855935" y="1364922"/>
                  <a:pt x="835060" y="1384728"/>
                  <a:pt x="800100" y="1409700"/>
                </a:cubicBezTo>
                <a:cubicBezTo>
                  <a:pt x="790785" y="1416354"/>
                  <a:pt x="781764" y="1423630"/>
                  <a:pt x="771525" y="1428750"/>
                </a:cubicBezTo>
                <a:cubicBezTo>
                  <a:pt x="762545" y="1433240"/>
                  <a:pt x="752351" y="1434750"/>
                  <a:pt x="742950" y="1438275"/>
                </a:cubicBezTo>
                <a:cubicBezTo>
                  <a:pt x="726941" y="1444278"/>
                  <a:pt x="711200" y="1450975"/>
                  <a:pt x="695325" y="1457325"/>
                </a:cubicBezTo>
                <a:cubicBezTo>
                  <a:pt x="677380" y="1475270"/>
                  <a:pt x="662045" y="1494341"/>
                  <a:pt x="638175" y="1504950"/>
                </a:cubicBezTo>
                <a:cubicBezTo>
                  <a:pt x="619825" y="1513105"/>
                  <a:pt x="597733" y="1512861"/>
                  <a:pt x="581025" y="1524000"/>
                </a:cubicBezTo>
                <a:lnTo>
                  <a:pt x="523875" y="1562100"/>
                </a:lnTo>
                <a:cubicBezTo>
                  <a:pt x="514350" y="1568450"/>
                  <a:pt x="506160" y="1577530"/>
                  <a:pt x="495300" y="1581150"/>
                </a:cubicBezTo>
                <a:lnTo>
                  <a:pt x="466725" y="1590675"/>
                </a:lnTo>
                <a:cubicBezTo>
                  <a:pt x="460375" y="1603375"/>
                  <a:pt x="457715" y="1618735"/>
                  <a:pt x="447675" y="1628775"/>
                </a:cubicBezTo>
                <a:cubicBezTo>
                  <a:pt x="431486" y="1644964"/>
                  <a:pt x="390525" y="1666875"/>
                  <a:pt x="390525" y="1666875"/>
                </a:cubicBezTo>
                <a:lnTo>
                  <a:pt x="352425" y="1724025"/>
                </a:lnTo>
                <a:lnTo>
                  <a:pt x="333375" y="1752600"/>
                </a:lnTo>
                <a:cubicBezTo>
                  <a:pt x="323850" y="1784350"/>
                  <a:pt x="315282" y="1816403"/>
                  <a:pt x="304800" y="1847850"/>
                </a:cubicBezTo>
                <a:cubicBezTo>
                  <a:pt x="299393" y="1864070"/>
                  <a:pt x="290663" y="1879098"/>
                  <a:pt x="285750" y="1895475"/>
                </a:cubicBezTo>
                <a:cubicBezTo>
                  <a:pt x="281098" y="1910982"/>
                  <a:pt x="280152" y="1927394"/>
                  <a:pt x="276225" y="1943100"/>
                </a:cubicBezTo>
                <a:cubicBezTo>
                  <a:pt x="273790" y="1952840"/>
                  <a:pt x="269875" y="1962150"/>
                  <a:pt x="266700" y="1971675"/>
                </a:cubicBezTo>
                <a:cubicBezTo>
                  <a:pt x="263525" y="1993900"/>
                  <a:pt x="263082" y="2016690"/>
                  <a:pt x="257175" y="2038350"/>
                </a:cubicBezTo>
                <a:cubicBezTo>
                  <a:pt x="253439" y="2052049"/>
                  <a:pt x="243718" y="2063399"/>
                  <a:pt x="238125" y="2076450"/>
                </a:cubicBezTo>
                <a:cubicBezTo>
                  <a:pt x="234170" y="2085678"/>
                  <a:pt x="231035" y="2095285"/>
                  <a:pt x="228600" y="2105025"/>
                </a:cubicBezTo>
                <a:cubicBezTo>
                  <a:pt x="212122" y="2170937"/>
                  <a:pt x="231384" y="2134186"/>
                  <a:pt x="200025" y="2181225"/>
                </a:cubicBezTo>
                <a:cubicBezTo>
                  <a:pt x="196850" y="2203450"/>
                  <a:pt x="194903" y="2225885"/>
                  <a:pt x="190500" y="2247900"/>
                </a:cubicBezTo>
                <a:cubicBezTo>
                  <a:pt x="188531" y="2257745"/>
                  <a:pt x="183733" y="2266821"/>
                  <a:pt x="180975" y="2276475"/>
                </a:cubicBezTo>
                <a:cubicBezTo>
                  <a:pt x="177379" y="2289062"/>
                  <a:pt x="175046" y="2301988"/>
                  <a:pt x="171450" y="2314575"/>
                </a:cubicBezTo>
                <a:cubicBezTo>
                  <a:pt x="168692" y="2324229"/>
                  <a:pt x="164683" y="2333496"/>
                  <a:pt x="161925" y="2343150"/>
                </a:cubicBezTo>
                <a:cubicBezTo>
                  <a:pt x="158329" y="2355737"/>
                  <a:pt x="155996" y="2368663"/>
                  <a:pt x="152400" y="2381250"/>
                </a:cubicBezTo>
                <a:cubicBezTo>
                  <a:pt x="149642" y="2390904"/>
                  <a:pt x="145310" y="2400085"/>
                  <a:pt x="142875" y="2409825"/>
                </a:cubicBezTo>
                <a:cubicBezTo>
                  <a:pt x="132659" y="2450688"/>
                  <a:pt x="132317" y="2472139"/>
                  <a:pt x="123825" y="2514600"/>
                </a:cubicBezTo>
                <a:cubicBezTo>
                  <a:pt x="121258" y="2527437"/>
                  <a:pt x="119457" y="2540668"/>
                  <a:pt x="114300" y="2552700"/>
                </a:cubicBezTo>
                <a:cubicBezTo>
                  <a:pt x="58907" y="2681951"/>
                  <a:pt x="125861" y="2489443"/>
                  <a:pt x="85725" y="2609850"/>
                </a:cubicBezTo>
                <a:cubicBezTo>
                  <a:pt x="82550" y="2635250"/>
                  <a:pt x="81563" y="2661021"/>
                  <a:pt x="76200" y="2686050"/>
                </a:cubicBezTo>
                <a:cubicBezTo>
                  <a:pt x="71993" y="2705685"/>
                  <a:pt x="57150" y="2743200"/>
                  <a:pt x="57150" y="2743200"/>
                </a:cubicBezTo>
                <a:cubicBezTo>
                  <a:pt x="53975" y="2774950"/>
                  <a:pt x="54800" y="2807359"/>
                  <a:pt x="47625" y="2838450"/>
                </a:cubicBezTo>
                <a:cubicBezTo>
                  <a:pt x="45051" y="2849604"/>
                  <a:pt x="31864" y="2856060"/>
                  <a:pt x="28575" y="2867025"/>
                </a:cubicBezTo>
                <a:cubicBezTo>
                  <a:pt x="22124" y="2888529"/>
                  <a:pt x="24098" y="2911824"/>
                  <a:pt x="19050" y="2933700"/>
                </a:cubicBezTo>
                <a:cubicBezTo>
                  <a:pt x="14535" y="2953266"/>
                  <a:pt x="0" y="2990850"/>
                  <a:pt x="0" y="2990850"/>
                </a:cubicBezTo>
                <a:cubicBezTo>
                  <a:pt x="70060" y="3037556"/>
                  <a:pt x="-11343" y="2994148"/>
                  <a:pt x="57150" y="3000375"/>
                </a:cubicBezTo>
                <a:cubicBezTo>
                  <a:pt x="83224" y="3002745"/>
                  <a:pt x="133350" y="3019425"/>
                  <a:pt x="133350" y="3019425"/>
                </a:cubicBezTo>
              </a:path>
            </a:pathLst>
          </a:cu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" name="Freeform 6"/>
          <p:cNvSpPr/>
          <p:nvPr/>
        </p:nvSpPr>
        <p:spPr>
          <a:xfrm>
            <a:off x="6705600" y="3905250"/>
            <a:ext cx="3676650" cy="2952750"/>
          </a:xfrm>
          <a:custGeom>
            <a:avLst/>
            <a:gdLst>
              <a:gd name="connsiteX0" fmla="*/ 0 w 3676650"/>
              <a:gd name="connsiteY0" fmla="*/ 0 h 2952750"/>
              <a:gd name="connsiteX1" fmla="*/ 38100 w 3676650"/>
              <a:gd name="connsiteY1" fmla="*/ 57150 h 2952750"/>
              <a:gd name="connsiteX2" fmla="*/ 114300 w 3676650"/>
              <a:gd name="connsiteY2" fmla="*/ 104775 h 2952750"/>
              <a:gd name="connsiteX3" fmla="*/ 180975 w 3676650"/>
              <a:gd name="connsiteY3" fmla="*/ 123825 h 2952750"/>
              <a:gd name="connsiteX4" fmla="*/ 238125 w 3676650"/>
              <a:gd name="connsiteY4" fmla="*/ 152400 h 2952750"/>
              <a:gd name="connsiteX5" fmla="*/ 276225 w 3676650"/>
              <a:gd name="connsiteY5" fmla="*/ 180975 h 2952750"/>
              <a:gd name="connsiteX6" fmla="*/ 304800 w 3676650"/>
              <a:gd name="connsiteY6" fmla="*/ 200025 h 2952750"/>
              <a:gd name="connsiteX7" fmla="*/ 352425 w 3676650"/>
              <a:gd name="connsiteY7" fmla="*/ 247650 h 2952750"/>
              <a:gd name="connsiteX8" fmla="*/ 400050 w 3676650"/>
              <a:gd name="connsiteY8" fmla="*/ 295275 h 2952750"/>
              <a:gd name="connsiteX9" fmla="*/ 438150 w 3676650"/>
              <a:gd name="connsiteY9" fmla="*/ 314325 h 2952750"/>
              <a:gd name="connsiteX10" fmla="*/ 476250 w 3676650"/>
              <a:gd name="connsiteY10" fmla="*/ 342900 h 2952750"/>
              <a:gd name="connsiteX11" fmla="*/ 504825 w 3676650"/>
              <a:gd name="connsiteY11" fmla="*/ 352425 h 2952750"/>
              <a:gd name="connsiteX12" fmla="*/ 533400 w 3676650"/>
              <a:gd name="connsiteY12" fmla="*/ 371475 h 2952750"/>
              <a:gd name="connsiteX13" fmla="*/ 552450 w 3676650"/>
              <a:gd name="connsiteY13" fmla="*/ 400050 h 2952750"/>
              <a:gd name="connsiteX14" fmla="*/ 600075 w 3676650"/>
              <a:gd name="connsiteY14" fmla="*/ 428625 h 2952750"/>
              <a:gd name="connsiteX15" fmla="*/ 657225 w 3676650"/>
              <a:gd name="connsiteY15" fmla="*/ 466725 h 2952750"/>
              <a:gd name="connsiteX16" fmla="*/ 723900 w 3676650"/>
              <a:gd name="connsiteY16" fmla="*/ 542925 h 2952750"/>
              <a:gd name="connsiteX17" fmla="*/ 790575 w 3676650"/>
              <a:gd name="connsiteY17" fmla="*/ 590550 h 2952750"/>
              <a:gd name="connsiteX18" fmla="*/ 819150 w 3676650"/>
              <a:gd name="connsiteY18" fmla="*/ 600075 h 2952750"/>
              <a:gd name="connsiteX19" fmla="*/ 857250 w 3676650"/>
              <a:gd name="connsiteY19" fmla="*/ 619125 h 2952750"/>
              <a:gd name="connsiteX20" fmla="*/ 885825 w 3676650"/>
              <a:gd name="connsiteY20" fmla="*/ 657225 h 2952750"/>
              <a:gd name="connsiteX21" fmla="*/ 923925 w 3676650"/>
              <a:gd name="connsiteY21" fmla="*/ 676275 h 2952750"/>
              <a:gd name="connsiteX22" fmla="*/ 952500 w 3676650"/>
              <a:gd name="connsiteY22" fmla="*/ 695325 h 2952750"/>
              <a:gd name="connsiteX23" fmla="*/ 1028700 w 3676650"/>
              <a:gd name="connsiteY23" fmla="*/ 762000 h 2952750"/>
              <a:gd name="connsiteX24" fmla="*/ 1133475 w 3676650"/>
              <a:gd name="connsiteY24" fmla="*/ 828675 h 2952750"/>
              <a:gd name="connsiteX25" fmla="*/ 1171575 w 3676650"/>
              <a:gd name="connsiteY25" fmla="*/ 847725 h 2952750"/>
              <a:gd name="connsiteX26" fmla="*/ 1276350 w 3676650"/>
              <a:gd name="connsiteY26" fmla="*/ 914400 h 2952750"/>
              <a:gd name="connsiteX27" fmla="*/ 1314450 w 3676650"/>
              <a:gd name="connsiteY27" fmla="*/ 942975 h 2952750"/>
              <a:gd name="connsiteX28" fmla="*/ 1400175 w 3676650"/>
              <a:gd name="connsiteY28" fmla="*/ 981075 h 2952750"/>
              <a:gd name="connsiteX29" fmla="*/ 1495425 w 3676650"/>
              <a:gd name="connsiteY29" fmla="*/ 1019175 h 2952750"/>
              <a:gd name="connsiteX30" fmla="*/ 1638300 w 3676650"/>
              <a:gd name="connsiteY30" fmla="*/ 1095375 h 2952750"/>
              <a:gd name="connsiteX31" fmla="*/ 1733550 w 3676650"/>
              <a:gd name="connsiteY31" fmla="*/ 1133475 h 2952750"/>
              <a:gd name="connsiteX32" fmla="*/ 1762125 w 3676650"/>
              <a:gd name="connsiteY32" fmla="*/ 1152525 h 2952750"/>
              <a:gd name="connsiteX33" fmla="*/ 1866900 w 3676650"/>
              <a:gd name="connsiteY33" fmla="*/ 1200150 h 2952750"/>
              <a:gd name="connsiteX34" fmla="*/ 2019300 w 3676650"/>
              <a:gd name="connsiteY34" fmla="*/ 1314450 h 2952750"/>
              <a:gd name="connsiteX35" fmla="*/ 2133600 w 3676650"/>
              <a:gd name="connsiteY35" fmla="*/ 1400175 h 2952750"/>
              <a:gd name="connsiteX36" fmla="*/ 2219325 w 3676650"/>
              <a:gd name="connsiteY36" fmla="*/ 1447800 h 2952750"/>
              <a:gd name="connsiteX37" fmla="*/ 2257425 w 3676650"/>
              <a:gd name="connsiteY37" fmla="*/ 1476375 h 2952750"/>
              <a:gd name="connsiteX38" fmla="*/ 2352675 w 3676650"/>
              <a:gd name="connsiteY38" fmla="*/ 1524000 h 2952750"/>
              <a:gd name="connsiteX39" fmla="*/ 2390775 w 3676650"/>
              <a:gd name="connsiteY39" fmla="*/ 1562100 h 2952750"/>
              <a:gd name="connsiteX40" fmla="*/ 2514600 w 3676650"/>
              <a:gd name="connsiteY40" fmla="*/ 1628775 h 2952750"/>
              <a:gd name="connsiteX41" fmla="*/ 2590800 w 3676650"/>
              <a:gd name="connsiteY41" fmla="*/ 1685925 h 2952750"/>
              <a:gd name="connsiteX42" fmla="*/ 2647950 w 3676650"/>
              <a:gd name="connsiteY42" fmla="*/ 1743075 h 2952750"/>
              <a:gd name="connsiteX43" fmla="*/ 2686050 w 3676650"/>
              <a:gd name="connsiteY43" fmla="*/ 1781175 h 2952750"/>
              <a:gd name="connsiteX44" fmla="*/ 2752725 w 3676650"/>
              <a:gd name="connsiteY44" fmla="*/ 1800225 h 2952750"/>
              <a:gd name="connsiteX45" fmla="*/ 2781300 w 3676650"/>
              <a:gd name="connsiteY45" fmla="*/ 1828800 h 2952750"/>
              <a:gd name="connsiteX46" fmla="*/ 2800350 w 3676650"/>
              <a:gd name="connsiteY46" fmla="*/ 1866900 h 2952750"/>
              <a:gd name="connsiteX47" fmla="*/ 2828925 w 3676650"/>
              <a:gd name="connsiteY47" fmla="*/ 1885950 h 2952750"/>
              <a:gd name="connsiteX48" fmla="*/ 2847975 w 3676650"/>
              <a:gd name="connsiteY48" fmla="*/ 1924050 h 2952750"/>
              <a:gd name="connsiteX49" fmla="*/ 2857500 w 3676650"/>
              <a:gd name="connsiteY49" fmla="*/ 1952625 h 2952750"/>
              <a:gd name="connsiteX50" fmla="*/ 2886075 w 3676650"/>
              <a:gd name="connsiteY50" fmla="*/ 1962150 h 2952750"/>
              <a:gd name="connsiteX51" fmla="*/ 2943225 w 3676650"/>
              <a:gd name="connsiteY51" fmla="*/ 2066925 h 2952750"/>
              <a:gd name="connsiteX52" fmla="*/ 3009900 w 3676650"/>
              <a:gd name="connsiteY52" fmla="*/ 2152650 h 2952750"/>
              <a:gd name="connsiteX53" fmla="*/ 3028950 w 3676650"/>
              <a:gd name="connsiteY53" fmla="*/ 2190750 h 2952750"/>
              <a:gd name="connsiteX54" fmla="*/ 3038475 w 3676650"/>
              <a:gd name="connsiteY54" fmla="*/ 2228850 h 2952750"/>
              <a:gd name="connsiteX55" fmla="*/ 3057525 w 3676650"/>
              <a:gd name="connsiteY55" fmla="*/ 2257425 h 2952750"/>
              <a:gd name="connsiteX56" fmla="*/ 3067050 w 3676650"/>
              <a:gd name="connsiteY56" fmla="*/ 2295525 h 2952750"/>
              <a:gd name="connsiteX57" fmla="*/ 3076575 w 3676650"/>
              <a:gd name="connsiteY57" fmla="*/ 2324100 h 2952750"/>
              <a:gd name="connsiteX58" fmla="*/ 3086100 w 3676650"/>
              <a:gd name="connsiteY58" fmla="*/ 2447925 h 2952750"/>
              <a:gd name="connsiteX59" fmla="*/ 3171825 w 3676650"/>
              <a:gd name="connsiteY59" fmla="*/ 2476500 h 2952750"/>
              <a:gd name="connsiteX60" fmla="*/ 3209925 w 3676650"/>
              <a:gd name="connsiteY60" fmla="*/ 2495550 h 2952750"/>
              <a:gd name="connsiteX61" fmla="*/ 3267075 w 3676650"/>
              <a:gd name="connsiteY61" fmla="*/ 2505075 h 2952750"/>
              <a:gd name="connsiteX62" fmla="*/ 3467100 w 3676650"/>
              <a:gd name="connsiteY62" fmla="*/ 2514600 h 2952750"/>
              <a:gd name="connsiteX63" fmla="*/ 3514725 w 3676650"/>
              <a:gd name="connsiteY63" fmla="*/ 2609850 h 2952750"/>
              <a:gd name="connsiteX64" fmla="*/ 3524250 w 3676650"/>
              <a:gd name="connsiteY64" fmla="*/ 2686050 h 2952750"/>
              <a:gd name="connsiteX65" fmla="*/ 3543300 w 3676650"/>
              <a:gd name="connsiteY65" fmla="*/ 2743200 h 2952750"/>
              <a:gd name="connsiteX66" fmla="*/ 3552825 w 3676650"/>
              <a:gd name="connsiteY66" fmla="*/ 2771775 h 2952750"/>
              <a:gd name="connsiteX67" fmla="*/ 3562350 w 3676650"/>
              <a:gd name="connsiteY67" fmla="*/ 2800350 h 2952750"/>
              <a:gd name="connsiteX68" fmla="*/ 3581400 w 3676650"/>
              <a:gd name="connsiteY68" fmla="*/ 2847975 h 2952750"/>
              <a:gd name="connsiteX69" fmla="*/ 3590925 w 3676650"/>
              <a:gd name="connsiteY69" fmla="*/ 2876550 h 2952750"/>
              <a:gd name="connsiteX70" fmla="*/ 3609975 w 3676650"/>
              <a:gd name="connsiteY70" fmla="*/ 2914650 h 2952750"/>
              <a:gd name="connsiteX71" fmla="*/ 3619500 w 3676650"/>
              <a:gd name="connsiteY71" fmla="*/ 2943225 h 2952750"/>
              <a:gd name="connsiteX72" fmla="*/ 3648075 w 3676650"/>
              <a:gd name="connsiteY72" fmla="*/ 2952750 h 2952750"/>
              <a:gd name="connsiteX73" fmla="*/ 3676650 w 3676650"/>
              <a:gd name="connsiteY73" fmla="*/ 2943225 h 2952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3676650" h="2952750">
                <a:moveTo>
                  <a:pt x="0" y="0"/>
                </a:moveTo>
                <a:cubicBezTo>
                  <a:pt x="12700" y="19050"/>
                  <a:pt x="22889" y="40038"/>
                  <a:pt x="38100" y="57150"/>
                </a:cubicBezTo>
                <a:cubicBezTo>
                  <a:pt x="53084" y="74007"/>
                  <a:pt x="92836" y="96726"/>
                  <a:pt x="114300" y="104775"/>
                </a:cubicBezTo>
                <a:cubicBezTo>
                  <a:pt x="162734" y="122938"/>
                  <a:pt x="139526" y="105403"/>
                  <a:pt x="180975" y="123825"/>
                </a:cubicBezTo>
                <a:cubicBezTo>
                  <a:pt x="200438" y="132475"/>
                  <a:pt x="219862" y="141442"/>
                  <a:pt x="238125" y="152400"/>
                </a:cubicBezTo>
                <a:cubicBezTo>
                  <a:pt x="251738" y="160568"/>
                  <a:pt x="263307" y="171748"/>
                  <a:pt x="276225" y="180975"/>
                </a:cubicBezTo>
                <a:cubicBezTo>
                  <a:pt x="285540" y="187629"/>
                  <a:pt x="295275" y="193675"/>
                  <a:pt x="304800" y="200025"/>
                </a:cubicBezTo>
                <a:cubicBezTo>
                  <a:pt x="342900" y="257175"/>
                  <a:pt x="301625" y="203200"/>
                  <a:pt x="352425" y="247650"/>
                </a:cubicBezTo>
                <a:cubicBezTo>
                  <a:pt x="369321" y="262434"/>
                  <a:pt x="382329" y="281492"/>
                  <a:pt x="400050" y="295275"/>
                </a:cubicBezTo>
                <a:cubicBezTo>
                  <a:pt x="411258" y="303992"/>
                  <a:pt x="426109" y="306800"/>
                  <a:pt x="438150" y="314325"/>
                </a:cubicBezTo>
                <a:cubicBezTo>
                  <a:pt x="451612" y="322739"/>
                  <a:pt x="462467" y="335024"/>
                  <a:pt x="476250" y="342900"/>
                </a:cubicBezTo>
                <a:cubicBezTo>
                  <a:pt x="484967" y="347881"/>
                  <a:pt x="495845" y="347935"/>
                  <a:pt x="504825" y="352425"/>
                </a:cubicBezTo>
                <a:cubicBezTo>
                  <a:pt x="515064" y="357545"/>
                  <a:pt x="523875" y="365125"/>
                  <a:pt x="533400" y="371475"/>
                </a:cubicBezTo>
                <a:cubicBezTo>
                  <a:pt x="539750" y="381000"/>
                  <a:pt x="543758" y="392600"/>
                  <a:pt x="552450" y="400050"/>
                </a:cubicBezTo>
                <a:cubicBezTo>
                  <a:pt x="566506" y="412098"/>
                  <a:pt x="584456" y="418686"/>
                  <a:pt x="600075" y="428625"/>
                </a:cubicBezTo>
                <a:cubicBezTo>
                  <a:pt x="619391" y="440917"/>
                  <a:pt x="639347" y="452422"/>
                  <a:pt x="657225" y="466725"/>
                </a:cubicBezTo>
                <a:cubicBezTo>
                  <a:pt x="800824" y="581604"/>
                  <a:pt x="601222" y="432515"/>
                  <a:pt x="723900" y="542925"/>
                </a:cubicBezTo>
                <a:cubicBezTo>
                  <a:pt x="744201" y="561196"/>
                  <a:pt x="767155" y="576498"/>
                  <a:pt x="790575" y="590550"/>
                </a:cubicBezTo>
                <a:cubicBezTo>
                  <a:pt x="799184" y="595716"/>
                  <a:pt x="809922" y="596120"/>
                  <a:pt x="819150" y="600075"/>
                </a:cubicBezTo>
                <a:cubicBezTo>
                  <a:pt x="832201" y="605668"/>
                  <a:pt x="844550" y="612775"/>
                  <a:pt x="857250" y="619125"/>
                </a:cubicBezTo>
                <a:cubicBezTo>
                  <a:pt x="866775" y="631825"/>
                  <a:pt x="873772" y="646894"/>
                  <a:pt x="885825" y="657225"/>
                </a:cubicBezTo>
                <a:cubicBezTo>
                  <a:pt x="896606" y="666466"/>
                  <a:pt x="911597" y="669230"/>
                  <a:pt x="923925" y="676275"/>
                </a:cubicBezTo>
                <a:cubicBezTo>
                  <a:pt x="933864" y="681955"/>
                  <a:pt x="943706" y="687996"/>
                  <a:pt x="952500" y="695325"/>
                </a:cubicBezTo>
                <a:cubicBezTo>
                  <a:pt x="1014817" y="747256"/>
                  <a:pt x="941328" y="701931"/>
                  <a:pt x="1028700" y="762000"/>
                </a:cubicBezTo>
                <a:cubicBezTo>
                  <a:pt x="1062813" y="785453"/>
                  <a:pt x="1096448" y="810162"/>
                  <a:pt x="1133475" y="828675"/>
                </a:cubicBezTo>
                <a:cubicBezTo>
                  <a:pt x="1146175" y="835025"/>
                  <a:pt x="1159399" y="840420"/>
                  <a:pt x="1171575" y="847725"/>
                </a:cubicBezTo>
                <a:cubicBezTo>
                  <a:pt x="1207073" y="869024"/>
                  <a:pt x="1243232" y="889562"/>
                  <a:pt x="1276350" y="914400"/>
                </a:cubicBezTo>
                <a:cubicBezTo>
                  <a:pt x="1289050" y="923925"/>
                  <a:pt x="1300473" y="935449"/>
                  <a:pt x="1314450" y="942975"/>
                </a:cubicBezTo>
                <a:cubicBezTo>
                  <a:pt x="1341982" y="957800"/>
                  <a:pt x="1371310" y="969048"/>
                  <a:pt x="1400175" y="981075"/>
                </a:cubicBezTo>
                <a:cubicBezTo>
                  <a:pt x="1476189" y="1012747"/>
                  <a:pt x="1360519" y="951722"/>
                  <a:pt x="1495425" y="1019175"/>
                </a:cubicBezTo>
                <a:cubicBezTo>
                  <a:pt x="1536575" y="1039750"/>
                  <a:pt x="1594876" y="1080900"/>
                  <a:pt x="1638300" y="1095375"/>
                </a:cubicBezTo>
                <a:cubicBezTo>
                  <a:pt x="1685136" y="1110987"/>
                  <a:pt x="1694308" y="1111051"/>
                  <a:pt x="1733550" y="1133475"/>
                </a:cubicBezTo>
                <a:cubicBezTo>
                  <a:pt x="1743489" y="1139155"/>
                  <a:pt x="1751886" y="1147405"/>
                  <a:pt x="1762125" y="1152525"/>
                </a:cubicBezTo>
                <a:cubicBezTo>
                  <a:pt x="1768613" y="1155769"/>
                  <a:pt x="1850180" y="1188446"/>
                  <a:pt x="1866900" y="1200150"/>
                </a:cubicBezTo>
                <a:cubicBezTo>
                  <a:pt x="1918921" y="1236565"/>
                  <a:pt x="1968500" y="1276350"/>
                  <a:pt x="2019300" y="1314450"/>
                </a:cubicBezTo>
                <a:cubicBezTo>
                  <a:pt x="2057400" y="1343025"/>
                  <a:pt x="2091968" y="1377046"/>
                  <a:pt x="2133600" y="1400175"/>
                </a:cubicBezTo>
                <a:cubicBezTo>
                  <a:pt x="2162175" y="1416050"/>
                  <a:pt x="2191485" y="1430668"/>
                  <a:pt x="2219325" y="1447800"/>
                </a:cubicBezTo>
                <a:cubicBezTo>
                  <a:pt x="2232845" y="1456120"/>
                  <a:pt x="2243488" y="1468773"/>
                  <a:pt x="2257425" y="1476375"/>
                </a:cubicBezTo>
                <a:cubicBezTo>
                  <a:pt x="2300716" y="1499988"/>
                  <a:pt x="2320033" y="1496021"/>
                  <a:pt x="2352675" y="1524000"/>
                </a:cubicBezTo>
                <a:cubicBezTo>
                  <a:pt x="2366312" y="1535689"/>
                  <a:pt x="2375831" y="1552137"/>
                  <a:pt x="2390775" y="1562100"/>
                </a:cubicBezTo>
                <a:cubicBezTo>
                  <a:pt x="2433873" y="1590832"/>
                  <a:pt x="2474999" y="1597094"/>
                  <a:pt x="2514600" y="1628775"/>
                </a:cubicBezTo>
                <a:cubicBezTo>
                  <a:pt x="2592778" y="1691317"/>
                  <a:pt x="2530438" y="1665804"/>
                  <a:pt x="2590800" y="1685925"/>
                </a:cubicBezTo>
                <a:lnTo>
                  <a:pt x="2647950" y="1743075"/>
                </a:lnTo>
                <a:cubicBezTo>
                  <a:pt x="2660650" y="1755775"/>
                  <a:pt x="2669011" y="1775495"/>
                  <a:pt x="2686050" y="1781175"/>
                </a:cubicBezTo>
                <a:cubicBezTo>
                  <a:pt x="2727044" y="1794840"/>
                  <a:pt x="2704885" y="1788265"/>
                  <a:pt x="2752725" y="1800225"/>
                </a:cubicBezTo>
                <a:cubicBezTo>
                  <a:pt x="2762250" y="1809750"/>
                  <a:pt x="2773470" y="1817839"/>
                  <a:pt x="2781300" y="1828800"/>
                </a:cubicBezTo>
                <a:cubicBezTo>
                  <a:pt x="2789553" y="1840354"/>
                  <a:pt x="2791260" y="1855992"/>
                  <a:pt x="2800350" y="1866900"/>
                </a:cubicBezTo>
                <a:cubicBezTo>
                  <a:pt x="2807679" y="1875694"/>
                  <a:pt x="2819400" y="1879600"/>
                  <a:pt x="2828925" y="1885950"/>
                </a:cubicBezTo>
                <a:cubicBezTo>
                  <a:pt x="2835275" y="1898650"/>
                  <a:pt x="2842382" y="1910999"/>
                  <a:pt x="2847975" y="1924050"/>
                </a:cubicBezTo>
                <a:cubicBezTo>
                  <a:pt x="2851930" y="1933278"/>
                  <a:pt x="2850400" y="1945525"/>
                  <a:pt x="2857500" y="1952625"/>
                </a:cubicBezTo>
                <a:cubicBezTo>
                  <a:pt x="2864600" y="1959725"/>
                  <a:pt x="2876550" y="1958975"/>
                  <a:pt x="2886075" y="1962150"/>
                </a:cubicBezTo>
                <a:cubicBezTo>
                  <a:pt x="2907357" y="2015355"/>
                  <a:pt x="2904038" y="2016542"/>
                  <a:pt x="2943225" y="2066925"/>
                </a:cubicBezTo>
                <a:cubicBezTo>
                  <a:pt x="2987127" y="2123370"/>
                  <a:pt x="2965794" y="2064439"/>
                  <a:pt x="3009900" y="2152650"/>
                </a:cubicBezTo>
                <a:cubicBezTo>
                  <a:pt x="3016250" y="2165350"/>
                  <a:pt x="3023964" y="2177455"/>
                  <a:pt x="3028950" y="2190750"/>
                </a:cubicBezTo>
                <a:cubicBezTo>
                  <a:pt x="3033547" y="2203007"/>
                  <a:pt x="3033318" y="2216818"/>
                  <a:pt x="3038475" y="2228850"/>
                </a:cubicBezTo>
                <a:cubicBezTo>
                  <a:pt x="3042984" y="2239372"/>
                  <a:pt x="3051175" y="2247900"/>
                  <a:pt x="3057525" y="2257425"/>
                </a:cubicBezTo>
                <a:cubicBezTo>
                  <a:pt x="3060700" y="2270125"/>
                  <a:pt x="3063454" y="2282938"/>
                  <a:pt x="3067050" y="2295525"/>
                </a:cubicBezTo>
                <a:cubicBezTo>
                  <a:pt x="3069808" y="2305179"/>
                  <a:pt x="3075330" y="2314137"/>
                  <a:pt x="3076575" y="2324100"/>
                </a:cubicBezTo>
                <a:cubicBezTo>
                  <a:pt x="3081710" y="2365177"/>
                  <a:pt x="3075434" y="2407926"/>
                  <a:pt x="3086100" y="2447925"/>
                </a:cubicBezTo>
                <a:cubicBezTo>
                  <a:pt x="3092329" y="2471285"/>
                  <a:pt x="3168191" y="2475894"/>
                  <a:pt x="3171825" y="2476500"/>
                </a:cubicBezTo>
                <a:cubicBezTo>
                  <a:pt x="3184525" y="2482850"/>
                  <a:pt x="3196325" y="2491470"/>
                  <a:pt x="3209925" y="2495550"/>
                </a:cubicBezTo>
                <a:cubicBezTo>
                  <a:pt x="3228423" y="2501099"/>
                  <a:pt x="3247815" y="2503648"/>
                  <a:pt x="3267075" y="2505075"/>
                </a:cubicBezTo>
                <a:cubicBezTo>
                  <a:pt x="3333643" y="2510006"/>
                  <a:pt x="3400425" y="2511425"/>
                  <a:pt x="3467100" y="2514600"/>
                </a:cubicBezTo>
                <a:cubicBezTo>
                  <a:pt x="3480234" y="2537584"/>
                  <a:pt x="3508852" y="2577547"/>
                  <a:pt x="3514725" y="2609850"/>
                </a:cubicBezTo>
                <a:cubicBezTo>
                  <a:pt x="3519304" y="2635035"/>
                  <a:pt x="3518887" y="2661021"/>
                  <a:pt x="3524250" y="2686050"/>
                </a:cubicBezTo>
                <a:cubicBezTo>
                  <a:pt x="3528457" y="2705685"/>
                  <a:pt x="3536950" y="2724150"/>
                  <a:pt x="3543300" y="2743200"/>
                </a:cubicBezTo>
                <a:lnTo>
                  <a:pt x="3552825" y="2771775"/>
                </a:lnTo>
                <a:cubicBezTo>
                  <a:pt x="3556000" y="2781300"/>
                  <a:pt x="3558621" y="2791028"/>
                  <a:pt x="3562350" y="2800350"/>
                </a:cubicBezTo>
                <a:cubicBezTo>
                  <a:pt x="3568700" y="2816225"/>
                  <a:pt x="3575397" y="2831966"/>
                  <a:pt x="3581400" y="2847975"/>
                </a:cubicBezTo>
                <a:cubicBezTo>
                  <a:pt x="3584925" y="2857376"/>
                  <a:pt x="3586970" y="2867322"/>
                  <a:pt x="3590925" y="2876550"/>
                </a:cubicBezTo>
                <a:cubicBezTo>
                  <a:pt x="3596518" y="2889601"/>
                  <a:pt x="3604382" y="2901599"/>
                  <a:pt x="3609975" y="2914650"/>
                </a:cubicBezTo>
                <a:cubicBezTo>
                  <a:pt x="3613930" y="2923878"/>
                  <a:pt x="3612400" y="2936125"/>
                  <a:pt x="3619500" y="2943225"/>
                </a:cubicBezTo>
                <a:cubicBezTo>
                  <a:pt x="3626600" y="2950325"/>
                  <a:pt x="3638550" y="2949575"/>
                  <a:pt x="3648075" y="2952750"/>
                </a:cubicBezTo>
                <a:lnTo>
                  <a:pt x="3676650" y="2943225"/>
                </a:lnTo>
              </a:path>
            </a:pathLst>
          </a:custGeom>
          <a:noFill/>
          <a:ln w="76200">
            <a:solidFill>
              <a:schemeClr val="accent4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Freeform 7"/>
          <p:cNvSpPr/>
          <p:nvPr/>
        </p:nvSpPr>
        <p:spPr>
          <a:xfrm>
            <a:off x="6573467" y="988390"/>
            <a:ext cx="5704258" cy="1828800"/>
          </a:xfrm>
          <a:custGeom>
            <a:avLst/>
            <a:gdLst>
              <a:gd name="connsiteX0" fmla="*/ 0 w 5353050"/>
              <a:gd name="connsiteY0" fmla="*/ 1828800 h 1828800"/>
              <a:gd name="connsiteX1" fmla="*/ 57150 w 5353050"/>
              <a:gd name="connsiteY1" fmla="*/ 1819275 h 1828800"/>
              <a:gd name="connsiteX2" fmla="*/ 85725 w 5353050"/>
              <a:gd name="connsiteY2" fmla="*/ 1800225 h 1828800"/>
              <a:gd name="connsiteX3" fmla="*/ 133350 w 5353050"/>
              <a:gd name="connsiteY3" fmla="*/ 1790700 h 1828800"/>
              <a:gd name="connsiteX4" fmla="*/ 219075 w 5353050"/>
              <a:gd name="connsiteY4" fmla="*/ 1752600 h 1828800"/>
              <a:gd name="connsiteX5" fmla="*/ 247650 w 5353050"/>
              <a:gd name="connsiteY5" fmla="*/ 1743075 h 1828800"/>
              <a:gd name="connsiteX6" fmla="*/ 276225 w 5353050"/>
              <a:gd name="connsiteY6" fmla="*/ 1724025 h 1828800"/>
              <a:gd name="connsiteX7" fmla="*/ 352425 w 5353050"/>
              <a:gd name="connsiteY7" fmla="*/ 1676400 h 1828800"/>
              <a:gd name="connsiteX8" fmla="*/ 371475 w 5353050"/>
              <a:gd name="connsiteY8" fmla="*/ 1647825 h 1828800"/>
              <a:gd name="connsiteX9" fmla="*/ 428625 w 5353050"/>
              <a:gd name="connsiteY9" fmla="*/ 1609725 h 1828800"/>
              <a:gd name="connsiteX10" fmla="*/ 457200 w 5353050"/>
              <a:gd name="connsiteY10" fmla="*/ 1571625 h 1828800"/>
              <a:gd name="connsiteX11" fmla="*/ 485775 w 5353050"/>
              <a:gd name="connsiteY11" fmla="*/ 1552575 h 1828800"/>
              <a:gd name="connsiteX12" fmla="*/ 600075 w 5353050"/>
              <a:gd name="connsiteY12" fmla="*/ 1466850 h 1828800"/>
              <a:gd name="connsiteX13" fmla="*/ 685800 w 5353050"/>
              <a:gd name="connsiteY13" fmla="*/ 1438275 h 1828800"/>
              <a:gd name="connsiteX14" fmla="*/ 714375 w 5353050"/>
              <a:gd name="connsiteY14" fmla="*/ 1419225 h 1828800"/>
              <a:gd name="connsiteX15" fmla="*/ 762000 w 5353050"/>
              <a:gd name="connsiteY15" fmla="*/ 1409700 h 1828800"/>
              <a:gd name="connsiteX16" fmla="*/ 819150 w 5353050"/>
              <a:gd name="connsiteY16" fmla="*/ 1390650 h 1828800"/>
              <a:gd name="connsiteX17" fmla="*/ 904875 w 5353050"/>
              <a:gd name="connsiteY17" fmla="*/ 1323975 h 1828800"/>
              <a:gd name="connsiteX18" fmla="*/ 1000125 w 5353050"/>
              <a:gd name="connsiteY18" fmla="*/ 1238250 h 1828800"/>
              <a:gd name="connsiteX19" fmla="*/ 1152525 w 5353050"/>
              <a:gd name="connsiteY19" fmla="*/ 1057275 h 1828800"/>
              <a:gd name="connsiteX20" fmla="*/ 1190625 w 5353050"/>
              <a:gd name="connsiteY20" fmla="*/ 1038225 h 1828800"/>
              <a:gd name="connsiteX21" fmla="*/ 1238250 w 5353050"/>
              <a:gd name="connsiteY21" fmla="*/ 1009650 h 1828800"/>
              <a:gd name="connsiteX22" fmla="*/ 1323975 w 5353050"/>
              <a:gd name="connsiteY22" fmla="*/ 990600 h 1828800"/>
              <a:gd name="connsiteX23" fmla="*/ 1362075 w 5353050"/>
              <a:gd name="connsiteY23" fmla="*/ 981075 h 1828800"/>
              <a:gd name="connsiteX24" fmla="*/ 1466850 w 5353050"/>
              <a:gd name="connsiteY24" fmla="*/ 962025 h 1828800"/>
              <a:gd name="connsiteX25" fmla="*/ 1647825 w 5353050"/>
              <a:gd name="connsiteY25" fmla="*/ 895350 h 1828800"/>
              <a:gd name="connsiteX26" fmla="*/ 1762125 w 5353050"/>
              <a:gd name="connsiteY26" fmla="*/ 866775 h 1828800"/>
              <a:gd name="connsiteX27" fmla="*/ 1933575 w 5353050"/>
              <a:gd name="connsiteY27" fmla="*/ 828675 h 1828800"/>
              <a:gd name="connsiteX28" fmla="*/ 2181225 w 5353050"/>
              <a:gd name="connsiteY28" fmla="*/ 819150 h 1828800"/>
              <a:gd name="connsiteX29" fmla="*/ 2286000 w 5353050"/>
              <a:gd name="connsiteY29" fmla="*/ 790575 h 1828800"/>
              <a:gd name="connsiteX30" fmla="*/ 2343150 w 5353050"/>
              <a:gd name="connsiteY30" fmla="*/ 781050 h 1828800"/>
              <a:gd name="connsiteX31" fmla="*/ 2371725 w 5353050"/>
              <a:gd name="connsiteY31" fmla="*/ 771525 h 1828800"/>
              <a:gd name="connsiteX32" fmla="*/ 2438400 w 5353050"/>
              <a:gd name="connsiteY32" fmla="*/ 742950 h 1828800"/>
              <a:gd name="connsiteX33" fmla="*/ 2590800 w 5353050"/>
              <a:gd name="connsiteY33" fmla="*/ 723900 h 1828800"/>
              <a:gd name="connsiteX34" fmla="*/ 2657475 w 5353050"/>
              <a:gd name="connsiteY34" fmla="*/ 714375 h 1828800"/>
              <a:gd name="connsiteX35" fmla="*/ 2781300 w 5353050"/>
              <a:gd name="connsiteY35" fmla="*/ 685800 h 1828800"/>
              <a:gd name="connsiteX36" fmla="*/ 2838450 w 5353050"/>
              <a:gd name="connsiteY36" fmla="*/ 666750 h 1828800"/>
              <a:gd name="connsiteX37" fmla="*/ 2886075 w 5353050"/>
              <a:gd name="connsiteY37" fmla="*/ 657225 h 1828800"/>
              <a:gd name="connsiteX38" fmla="*/ 2914650 w 5353050"/>
              <a:gd name="connsiteY38" fmla="*/ 647700 h 1828800"/>
              <a:gd name="connsiteX39" fmla="*/ 2971800 w 5353050"/>
              <a:gd name="connsiteY39" fmla="*/ 638175 h 1828800"/>
              <a:gd name="connsiteX40" fmla="*/ 3124200 w 5353050"/>
              <a:gd name="connsiteY40" fmla="*/ 609600 h 1828800"/>
              <a:gd name="connsiteX41" fmla="*/ 3209925 w 5353050"/>
              <a:gd name="connsiteY41" fmla="*/ 600075 h 1828800"/>
              <a:gd name="connsiteX42" fmla="*/ 3276600 w 5353050"/>
              <a:gd name="connsiteY42" fmla="*/ 590550 h 1828800"/>
              <a:gd name="connsiteX43" fmla="*/ 3371850 w 5353050"/>
              <a:gd name="connsiteY43" fmla="*/ 561975 h 1828800"/>
              <a:gd name="connsiteX44" fmla="*/ 3400425 w 5353050"/>
              <a:gd name="connsiteY44" fmla="*/ 552450 h 1828800"/>
              <a:gd name="connsiteX45" fmla="*/ 3438525 w 5353050"/>
              <a:gd name="connsiteY45" fmla="*/ 542925 h 1828800"/>
              <a:gd name="connsiteX46" fmla="*/ 3552825 w 5353050"/>
              <a:gd name="connsiteY46" fmla="*/ 504825 h 1828800"/>
              <a:gd name="connsiteX47" fmla="*/ 3667125 w 5353050"/>
              <a:gd name="connsiteY47" fmla="*/ 466725 h 1828800"/>
              <a:gd name="connsiteX48" fmla="*/ 3810000 w 5353050"/>
              <a:gd name="connsiteY48" fmla="*/ 409575 h 1828800"/>
              <a:gd name="connsiteX49" fmla="*/ 3876675 w 5353050"/>
              <a:gd name="connsiteY49" fmla="*/ 371475 h 1828800"/>
              <a:gd name="connsiteX50" fmla="*/ 4057650 w 5353050"/>
              <a:gd name="connsiteY50" fmla="*/ 361950 h 1828800"/>
              <a:gd name="connsiteX51" fmla="*/ 4124325 w 5353050"/>
              <a:gd name="connsiteY51" fmla="*/ 342900 h 1828800"/>
              <a:gd name="connsiteX52" fmla="*/ 4181475 w 5353050"/>
              <a:gd name="connsiteY52" fmla="*/ 323850 h 1828800"/>
              <a:gd name="connsiteX53" fmla="*/ 4219575 w 5353050"/>
              <a:gd name="connsiteY53" fmla="*/ 314325 h 1828800"/>
              <a:gd name="connsiteX54" fmla="*/ 4343400 w 5353050"/>
              <a:gd name="connsiteY54" fmla="*/ 276225 h 1828800"/>
              <a:gd name="connsiteX55" fmla="*/ 4371975 w 5353050"/>
              <a:gd name="connsiteY55" fmla="*/ 257175 h 1828800"/>
              <a:gd name="connsiteX56" fmla="*/ 4457700 w 5353050"/>
              <a:gd name="connsiteY56" fmla="*/ 238125 h 1828800"/>
              <a:gd name="connsiteX57" fmla="*/ 4505325 w 5353050"/>
              <a:gd name="connsiteY57" fmla="*/ 219075 h 1828800"/>
              <a:gd name="connsiteX58" fmla="*/ 4572000 w 5353050"/>
              <a:gd name="connsiteY58" fmla="*/ 200025 h 1828800"/>
              <a:gd name="connsiteX59" fmla="*/ 4676775 w 5353050"/>
              <a:gd name="connsiteY59" fmla="*/ 152400 h 1828800"/>
              <a:gd name="connsiteX60" fmla="*/ 4762500 w 5353050"/>
              <a:gd name="connsiteY60" fmla="*/ 133350 h 1828800"/>
              <a:gd name="connsiteX61" fmla="*/ 4933950 w 5353050"/>
              <a:gd name="connsiteY61" fmla="*/ 85725 h 1828800"/>
              <a:gd name="connsiteX62" fmla="*/ 5086350 w 5353050"/>
              <a:gd name="connsiteY62" fmla="*/ 28575 h 1828800"/>
              <a:gd name="connsiteX63" fmla="*/ 5219700 w 5353050"/>
              <a:gd name="connsiteY63" fmla="*/ 19050 h 1828800"/>
              <a:gd name="connsiteX64" fmla="*/ 5305425 w 5353050"/>
              <a:gd name="connsiteY64" fmla="*/ 9525 h 1828800"/>
              <a:gd name="connsiteX65" fmla="*/ 5353050 w 5353050"/>
              <a:gd name="connsiteY65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5353050" h="1828800">
                <a:moveTo>
                  <a:pt x="0" y="1828800"/>
                </a:moveTo>
                <a:cubicBezTo>
                  <a:pt x="19050" y="1825625"/>
                  <a:pt x="38828" y="1825382"/>
                  <a:pt x="57150" y="1819275"/>
                </a:cubicBezTo>
                <a:cubicBezTo>
                  <a:pt x="68010" y="1815655"/>
                  <a:pt x="75006" y="1804245"/>
                  <a:pt x="85725" y="1800225"/>
                </a:cubicBezTo>
                <a:cubicBezTo>
                  <a:pt x="100884" y="1794541"/>
                  <a:pt x="117475" y="1793875"/>
                  <a:pt x="133350" y="1790700"/>
                </a:cubicBezTo>
                <a:cubicBezTo>
                  <a:pt x="178633" y="1760511"/>
                  <a:pt x="151065" y="1775270"/>
                  <a:pt x="219075" y="1752600"/>
                </a:cubicBezTo>
                <a:cubicBezTo>
                  <a:pt x="228600" y="1749425"/>
                  <a:pt x="239296" y="1748644"/>
                  <a:pt x="247650" y="1743075"/>
                </a:cubicBezTo>
                <a:cubicBezTo>
                  <a:pt x="257175" y="1736725"/>
                  <a:pt x="266286" y="1729705"/>
                  <a:pt x="276225" y="1724025"/>
                </a:cubicBezTo>
                <a:cubicBezTo>
                  <a:pt x="311435" y="1703905"/>
                  <a:pt x="322072" y="1706753"/>
                  <a:pt x="352425" y="1676400"/>
                </a:cubicBezTo>
                <a:cubicBezTo>
                  <a:pt x="360520" y="1668305"/>
                  <a:pt x="362860" y="1655363"/>
                  <a:pt x="371475" y="1647825"/>
                </a:cubicBezTo>
                <a:cubicBezTo>
                  <a:pt x="388705" y="1632748"/>
                  <a:pt x="411513" y="1624936"/>
                  <a:pt x="428625" y="1609725"/>
                </a:cubicBezTo>
                <a:cubicBezTo>
                  <a:pt x="440490" y="1599178"/>
                  <a:pt x="445975" y="1582850"/>
                  <a:pt x="457200" y="1571625"/>
                </a:cubicBezTo>
                <a:cubicBezTo>
                  <a:pt x="465295" y="1563530"/>
                  <a:pt x="476739" y="1559603"/>
                  <a:pt x="485775" y="1552575"/>
                </a:cubicBezTo>
                <a:cubicBezTo>
                  <a:pt x="534432" y="1514731"/>
                  <a:pt x="546373" y="1496142"/>
                  <a:pt x="600075" y="1466850"/>
                </a:cubicBezTo>
                <a:cubicBezTo>
                  <a:pt x="630425" y="1450296"/>
                  <a:pt x="653645" y="1446314"/>
                  <a:pt x="685800" y="1438275"/>
                </a:cubicBezTo>
                <a:cubicBezTo>
                  <a:pt x="695325" y="1431925"/>
                  <a:pt x="703656" y="1423245"/>
                  <a:pt x="714375" y="1419225"/>
                </a:cubicBezTo>
                <a:cubicBezTo>
                  <a:pt x="729534" y="1413541"/>
                  <a:pt x="746381" y="1413960"/>
                  <a:pt x="762000" y="1409700"/>
                </a:cubicBezTo>
                <a:cubicBezTo>
                  <a:pt x="781373" y="1404416"/>
                  <a:pt x="800100" y="1397000"/>
                  <a:pt x="819150" y="1390650"/>
                </a:cubicBezTo>
                <a:lnTo>
                  <a:pt x="904875" y="1323975"/>
                </a:lnTo>
                <a:cubicBezTo>
                  <a:pt x="949885" y="1289352"/>
                  <a:pt x="956598" y="1289458"/>
                  <a:pt x="1000125" y="1238250"/>
                </a:cubicBezTo>
                <a:cubicBezTo>
                  <a:pt x="1024478" y="1209600"/>
                  <a:pt x="1102376" y="1096280"/>
                  <a:pt x="1152525" y="1057275"/>
                </a:cubicBezTo>
                <a:cubicBezTo>
                  <a:pt x="1163733" y="1048558"/>
                  <a:pt x="1178213" y="1045121"/>
                  <a:pt x="1190625" y="1038225"/>
                </a:cubicBezTo>
                <a:cubicBezTo>
                  <a:pt x="1206809" y="1029234"/>
                  <a:pt x="1220815" y="1015877"/>
                  <a:pt x="1238250" y="1009650"/>
                </a:cubicBezTo>
                <a:cubicBezTo>
                  <a:pt x="1265817" y="999805"/>
                  <a:pt x="1295453" y="997182"/>
                  <a:pt x="1323975" y="990600"/>
                </a:cubicBezTo>
                <a:cubicBezTo>
                  <a:pt x="1336731" y="987656"/>
                  <a:pt x="1349238" y="983642"/>
                  <a:pt x="1362075" y="981075"/>
                </a:cubicBezTo>
                <a:cubicBezTo>
                  <a:pt x="1381686" y="977153"/>
                  <a:pt x="1445142" y="968410"/>
                  <a:pt x="1466850" y="962025"/>
                </a:cubicBezTo>
                <a:cubicBezTo>
                  <a:pt x="1599686" y="922955"/>
                  <a:pt x="1546887" y="935725"/>
                  <a:pt x="1647825" y="895350"/>
                </a:cubicBezTo>
                <a:cubicBezTo>
                  <a:pt x="1685195" y="880402"/>
                  <a:pt x="1721919" y="876827"/>
                  <a:pt x="1762125" y="866775"/>
                </a:cubicBezTo>
                <a:cubicBezTo>
                  <a:pt x="1834727" y="848624"/>
                  <a:pt x="1849373" y="835502"/>
                  <a:pt x="1933575" y="828675"/>
                </a:cubicBezTo>
                <a:cubicBezTo>
                  <a:pt x="2015916" y="821999"/>
                  <a:pt x="2098675" y="822325"/>
                  <a:pt x="2181225" y="819150"/>
                </a:cubicBezTo>
                <a:cubicBezTo>
                  <a:pt x="2345971" y="786201"/>
                  <a:pt x="2092644" y="838914"/>
                  <a:pt x="2286000" y="790575"/>
                </a:cubicBezTo>
                <a:cubicBezTo>
                  <a:pt x="2304736" y="785891"/>
                  <a:pt x="2324297" y="785240"/>
                  <a:pt x="2343150" y="781050"/>
                </a:cubicBezTo>
                <a:cubicBezTo>
                  <a:pt x="2352951" y="778872"/>
                  <a:pt x="2362403" y="775254"/>
                  <a:pt x="2371725" y="771525"/>
                </a:cubicBezTo>
                <a:cubicBezTo>
                  <a:pt x="2394176" y="762545"/>
                  <a:pt x="2414772" y="748087"/>
                  <a:pt x="2438400" y="742950"/>
                </a:cubicBezTo>
                <a:cubicBezTo>
                  <a:pt x="2488427" y="732075"/>
                  <a:pt x="2540035" y="730522"/>
                  <a:pt x="2590800" y="723900"/>
                </a:cubicBezTo>
                <a:cubicBezTo>
                  <a:pt x="2613062" y="720996"/>
                  <a:pt x="2635250" y="717550"/>
                  <a:pt x="2657475" y="714375"/>
                </a:cubicBezTo>
                <a:cubicBezTo>
                  <a:pt x="2736320" y="688093"/>
                  <a:pt x="2613148" y="727838"/>
                  <a:pt x="2781300" y="685800"/>
                </a:cubicBezTo>
                <a:cubicBezTo>
                  <a:pt x="2800781" y="680930"/>
                  <a:pt x="2819077" y="672034"/>
                  <a:pt x="2838450" y="666750"/>
                </a:cubicBezTo>
                <a:cubicBezTo>
                  <a:pt x="2854069" y="662490"/>
                  <a:pt x="2870369" y="661152"/>
                  <a:pt x="2886075" y="657225"/>
                </a:cubicBezTo>
                <a:cubicBezTo>
                  <a:pt x="2895815" y="654790"/>
                  <a:pt x="2904849" y="649878"/>
                  <a:pt x="2914650" y="647700"/>
                </a:cubicBezTo>
                <a:cubicBezTo>
                  <a:pt x="2933503" y="643510"/>
                  <a:pt x="2952799" y="641630"/>
                  <a:pt x="2971800" y="638175"/>
                </a:cubicBezTo>
                <a:cubicBezTo>
                  <a:pt x="3022652" y="628929"/>
                  <a:pt x="3073164" y="617766"/>
                  <a:pt x="3124200" y="609600"/>
                </a:cubicBezTo>
                <a:cubicBezTo>
                  <a:pt x="3152590" y="605058"/>
                  <a:pt x="3181396" y="603641"/>
                  <a:pt x="3209925" y="600075"/>
                </a:cubicBezTo>
                <a:cubicBezTo>
                  <a:pt x="3232202" y="597290"/>
                  <a:pt x="3254375" y="593725"/>
                  <a:pt x="3276600" y="590550"/>
                </a:cubicBezTo>
                <a:lnTo>
                  <a:pt x="3371850" y="561975"/>
                </a:lnTo>
                <a:cubicBezTo>
                  <a:pt x="3381446" y="559022"/>
                  <a:pt x="3390771" y="555208"/>
                  <a:pt x="3400425" y="552450"/>
                </a:cubicBezTo>
                <a:cubicBezTo>
                  <a:pt x="3413012" y="548854"/>
                  <a:pt x="3426030" y="546830"/>
                  <a:pt x="3438525" y="542925"/>
                </a:cubicBezTo>
                <a:cubicBezTo>
                  <a:pt x="3476858" y="530946"/>
                  <a:pt x="3514725" y="517525"/>
                  <a:pt x="3552825" y="504825"/>
                </a:cubicBezTo>
                <a:cubicBezTo>
                  <a:pt x="3590925" y="492125"/>
                  <a:pt x="3631204" y="484686"/>
                  <a:pt x="3667125" y="466725"/>
                </a:cubicBezTo>
                <a:cubicBezTo>
                  <a:pt x="3826120" y="387228"/>
                  <a:pt x="3598139" y="497850"/>
                  <a:pt x="3810000" y="409575"/>
                </a:cubicBezTo>
                <a:cubicBezTo>
                  <a:pt x="3835348" y="399014"/>
                  <a:pt x="3846993" y="375347"/>
                  <a:pt x="3876675" y="371475"/>
                </a:cubicBezTo>
                <a:cubicBezTo>
                  <a:pt x="3936576" y="363662"/>
                  <a:pt x="3997325" y="365125"/>
                  <a:pt x="4057650" y="361950"/>
                </a:cubicBezTo>
                <a:cubicBezTo>
                  <a:pt x="4079875" y="355600"/>
                  <a:pt x="4102233" y="349698"/>
                  <a:pt x="4124325" y="342900"/>
                </a:cubicBezTo>
                <a:cubicBezTo>
                  <a:pt x="4143517" y="336995"/>
                  <a:pt x="4161994" y="328720"/>
                  <a:pt x="4181475" y="323850"/>
                </a:cubicBezTo>
                <a:cubicBezTo>
                  <a:pt x="4194175" y="320675"/>
                  <a:pt x="4207063" y="318175"/>
                  <a:pt x="4219575" y="314325"/>
                </a:cubicBezTo>
                <a:cubicBezTo>
                  <a:pt x="4361339" y="270705"/>
                  <a:pt x="4257121" y="297795"/>
                  <a:pt x="4343400" y="276225"/>
                </a:cubicBezTo>
                <a:cubicBezTo>
                  <a:pt x="4352925" y="269875"/>
                  <a:pt x="4361453" y="261684"/>
                  <a:pt x="4371975" y="257175"/>
                </a:cubicBezTo>
                <a:cubicBezTo>
                  <a:pt x="4389076" y="249846"/>
                  <a:pt x="4442631" y="242646"/>
                  <a:pt x="4457700" y="238125"/>
                </a:cubicBezTo>
                <a:cubicBezTo>
                  <a:pt x="4474077" y="233212"/>
                  <a:pt x="4489105" y="224482"/>
                  <a:pt x="4505325" y="219075"/>
                </a:cubicBezTo>
                <a:cubicBezTo>
                  <a:pt x="4527253" y="211766"/>
                  <a:pt x="4550457" y="208403"/>
                  <a:pt x="4572000" y="200025"/>
                </a:cubicBezTo>
                <a:cubicBezTo>
                  <a:pt x="4607755" y="186120"/>
                  <a:pt x="4641513" y="167512"/>
                  <a:pt x="4676775" y="152400"/>
                </a:cubicBezTo>
                <a:cubicBezTo>
                  <a:pt x="4719739" y="133987"/>
                  <a:pt x="4703012" y="149875"/>
                  <a:pt x="4762500" y="133350"/>
                </a:cubicBezTo>
                <a:cubicBezTo>
                  <a:pt x="4961433" y="78091"/>
                  <a:pt x="4805298" y="107167"/>
                  <a:pt x="4933950" y="85725"/>
                </a:cubicBezTo>
                <a:cubicBezTo>
                  <a:pt x="4935961" y="84921"/>
                  <a:pt x="5062459" y="32159"/>
                  <a:pt x="5086350" y="28575"/>
                </a:cubicBezTo>
                <a:cubicBezTo>
                  <a:pt x="5130420" y="21964"/>
                  <a:pt x="5175304" y="22910"/>
                  <a:pt x="5219700" y="19050"/>
                </a:cubicBezTo>
                <a:cubicBezTo>
                  <a:pt x="5248343" y="16559"/>
                  <a:pt x="5276963" y="13591"/>
                  <a:pt x="5305425" y="9525"/>
                </a:cubicBezTo>
                <a:cubicBezTo>
                  <a:pt x="5321452" y="7235"/>
                  <a:pt x="5353050" y="0"/>
                  <a:pt x="5353050" y="0"/>
                </a:cubicBezTo>
              </a:path>
            </a:pathLst>
          </a:cu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47" name="Group 46"/>
          <p:cNvGrpSpPr/>
          <p:nvPr/>
        </p:nvGrpSpPr>
        <p:grpSpPr>
          <a:xfrm>
            <a:off x="0" y="3429575"/>
            <a:ext cx="5381625" cy="1390075"/>
            <a:chOff x="0" y="3429575"/>
            <a:chExt cx="5381625" cy="1390075"/>
          </a:xfrm>
        </p:grpSpPr>
        <p:cxnSp>
          <p:nvCxnSpPr>
            <p:cNvPr id="10" name="Straight Connector 9"/>
            <p:cNvCxnSpPr/>
            <p:nvPr/>
          </p:nvCxnSpPr>
          <p:spPr>
            <a:xfrm flipV="1">
              <a:off x="0" y="3905250"/>
              <a:ext cx="2486025" cy="914400"/>
            </a:xfrm>
            <a:prstGeom prst="line">
              <a:avLst/>
            </a:prstGeom>
            <a:ln w="76200">
              <a:solidFill>
                <a:schemeClr val="accent4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Freeform 10"/>
            <p:cNvSpPr/>
            <p:nvPr/>
          </p:nvSpPr>
          <p:spPr>
            <a:xfrm rot="308706">
              <a:off x="2486025" y="3429575"/>
              <a:ext cx="2895600" cy="599500"/>
            </a:xfrm>
            <a:custGeom>
              <a:avLst/>
              <a:gdLst>
                <a:gd name="connsiteX0" fmla="*/ 0 w 2895600"/>
                <a:gd name="connsiteY0" fmla="*/ 599500 h 599500"/>
                <a:gd name="connsiteX1" fmla="*/ 1419225 w 2895600"/>
                <a:gd name="connsiteY1" fmla="*/ 47050 h 599500"/>
                <a:gd name="connsiteX2" fmla="*/ 2895600 w 2895600"/>
                <a:gd name="connsiteY2" fmla="*/ 28000 h 599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95600" h="599500">
                  <a:moveTo>
                    <a:pt x="0" y="599500"/>
                  </a:moveTo>
                  <a:cubicBezTo>
                    <a:pt x="468312" y="370900"/>
                    <a:pt x="936625" y="142300"/>
                    <a:pt x="1419225" y="47050"/>
                  </a:cubicBezTo>
                  <a:cubicBezTo>
                    <a:pt x="1901825" y="-48200"/>
                    <a:pt x="2652713" y="31175"/>
                    <a:pt x="2895600" y="28000"/>
                  </a:cubicBezTo>
                </a:path>
              </a:pathLst>
            </a:custGeom>
            <a:noFill/>
            <a:ln w="762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</p:grpSp>
      <p:sp>
        <p:nvSpPr>
          <p:cNvPr id="26" name="Freeform 25"/>
          <p:cNvSpPr/>
          <p:nvPr/>
        </p:nvSpPr>
        <p:spPr>
          <a:xfrm>
            <a:off x="6800850" y="3557929"/>
            <a:ext cx="5400675" cy="614021"/>
          </a:xfrm>
          <a:custGeom>
            <a:avLst/>
            <a:gdLst>
              <a:gd name="connsiteX0" fmla="*/ 5400675 w 5400675"/>
              <a:gd name="connsiteY0" fmla="*/ 614021 h 614021"/>
              <a:gd name="connsiteX1" fmla="*/ 3562350 w 5400675"/>
              <a:gd name="connsiteY1" fmla="*/ 4421 h 614021"/>
              <a:gd name="connsiteX2" fmla="*/ 1162050 w 5400675"/>
              <a:gd name="connsiteY2" fmla="*/ 328271 h 614021"/>
              <a:gd name="connsiteX3" fmla="*/ 0 w 5400675"/>
              <a:gd name="connsiteY3" fmla="*/ 118721 h 614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00675" h="614021">
                <a:moveTo>
                  <a:pt x="5400675" y="614021"/>
                </a:moveTo>
                <a:cubicBezTo>
                  <a:pt x="4834731" y="333033"/>
                  <a:pt x="4268787" y="52046"/>
                  <a:pt x="3562350" y="4421"/>
                </a:cubicBezTo>
                <a:cubicBezTo>
                  <a:pt x="2855912" y="-43204"/>
                  <a:pt x="1755775" y="309221"/>
                  <a:pt x="1162050" y="328271"/>
                </a:cubicBezTo>
                <a:cubicBezTo>
                  <a:pt x="568325" y="347321"/>
                  <a:pt x="284162" y="233021"/>
                  <a:pt x="0" y="118721"/>
                </a:cubicBezTo>
              </a:path>
            </a:pathLst>
          </a:cu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32" name="Group 31"/>
          <p:cNvGrpSpPr/>
          <p:nvPr/>
        </p:nvGrpSpPr>
        <p:grpSpPr>
          <a:xfrm>
            <a:off x="0" y="1724025"/>
            <a:ext cx="5915025" cy="1028700"/>
            <a:chOff x="0" y="1724025"/>
            <a:chExt cx="5915025" cy="10287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0" y="1724025"/>
              <a:ext cx="4162425" cy="95250"/>
            </a:xfrm>
            <a:prstGeom prst="line">
              <a:avLst/>
            </a:prstGeom>
            <a:ln w="762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Freeform 28"/>
            <p:cNvSpPr/>
            <p:nvPr/>
          </p:nvSpPr>
          <p:spPr>
            <a:xfrm>
              <a:off x="4152900" y="1819275"/>
              <a:ext cx="1762125" cy="933450"/>
            </a:xfrm>
            <a:custGeom>
              <a:avLst/>
              <a:gdLst>
                <a:gd name="connsiteX0" fmla="*/ 0 w 1762125"/>
                <a:gd name="connsiteY0" fmla="*/ 0 h 933450"/>
                <a:gd name="connsiteX1" fmla="*/ 1171575 w 1762125"/>
                <a:gd name="connsiteY1" fmla="*/ 161925 h 933450"/>
                <a:gd name="connsiteX2" fmla="*/ 1762125 w 1762125"/>
                <a:gd name="connsiteY2" fmla="*/ 933450 h 933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62125" h="933450">
                  <a:moveTo>
                    <a:pt x="0" y="0"/>
                  </a:moveTo>
                  <a:cubicBezTo>
                    <a:pt x="438944" y="3175"/>
                    <a:pt x="877888" y="6350"/>
                    <a:pt x="1171575" y="161925"/>
                  </a:cubicBezTo>
                  <a:cubicBezTo>
                    <a:pt x="1465262" y="317500"/>
                    <a:pt x="1613693" y="625475"/>
                    <a:pt x="1762125" y="933450"/>
                  </a:cubicBezTo>
                </a:path>
              </a:pathLst>
            </a:custGeom>
            <a:noFill/>
            <a:ln w="762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</p:grpSp>
      <p:sp>
        <p:nvSpPr>
          <p:cNvPr id="34" name="Rectangle 33"/>
          <p:cNvSpPr/>
          <p:nvPr/>
        </p:nvSpPr>
        <p:spPr>
          <a:xfrm rot="120000">
            <a:off x="1257952" y="1433541"/>
            <a:ext cx="30402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rial" charset="0"/>
                <a:cs typeface="Arial" charset="0"/>
              </a:rPr>
              <a:t>Sustainability </a:t>
            </a:r>
            <a:r>
              <a:rPr lang="en-US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and </a:t>
            </a:r>
            <a:r>
              <a:rPr lang="en-US" b="1" dirty="0">
                <a:solidFill>
                  <a:schemeClr val="bg1"/>
                </a:solidFill>
                <a:latin typeface="Arial" charset="0"/>
                <a:cs typeface="Arial" charset="0"/>
              </a:rPr>
              <a:t>Vitality </a:t>
            </a:r>
            <a:endParaRPr lang="en-AU" dirty="0">
              <a:solidFill>
                <a:schemeClr val="bg1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 rot="20880075">
            <a:off x="7898955" y="1169498"/>
            <a:ext cx="37112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Accompaniment </a:t>
            </a:r>
            <a:r>
              <a:rPr lang="en-US" b="1" dirty="0">
                <a:solidFill>
                  <a:schemeClr val="bg1"/>
                </a:solidFill>
                <a:latin typeface="Arial" charset="0"/>
                <a:cs typeface="Arial" charset="0"/>
              </a:rPr>
              <a:t>and </a:t>
            </a:r>
            <a:r>
              <a:rPr lang="en-US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Formation </a:t>
            </a:r>
            <a:endParaRPr lang="en-AU" dirty="0">
              <a:solidFill>
                <a:schemeClr val="bg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 rot="20385607">
            <a:off x="-186625" y="3757121"/>
            <a:ext cx="40234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P</a:t>
            </a:r>
            <a:r>
              <a:rPr lang="en-US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resence </a:t>
            </a:r>
            <a:r>
              <a:rPr lang="en-US" b="1" dirty="0">
                <a:solidFill>
                  <a:schemeClr val="bg1"/>
                </a:solidFill>
                <a:latin typeface="Arial" charset="0"/>
                <a:cs typeface="Arial" charset="0"/>
              </a:rPr>
              <a:t>among C</a:t>
            </a:r>
            <a:r>
              <a:rPr lang="en-US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hildren &amp; Young</a:t>
            </a:r>
            <a:endParaRPr lang="en-AU" dirty="0">
              <a:solidFill>
                <a:schemeClr val="bg1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 rot="2239555">
            <a:off x="6985366" y="5246087"/>
            <a:ext cx="46730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rial" charset="0"/>
                <a:cs typeface="Arial" charset="0"/>
              </a:rPr>
              <a:t>participation and </a:t>
            </a:r>
            <a:r>
              <a:rPr lang="en-US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co-responsibility by all </a:t>
            </a:r>
            <a:endParaRPr lang="en-AU" dirty="0">
              <a:solidFill>
                <a:schemeClr val="bg1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4559525" y="5964528"/>
            <a:ext cx="27109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rial" charset="0"/>
                <a:cs typeface="Arial" charset="0"/>
              </a:rPr>
              <a:t>appropriate structures </a:t>
            </a:r>
            <a:endParaRPr lang="en-AU" dirty="0">
              <a:solidFill>
                <a:schemeClr val="bg1"/>
              </a:solidFill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2657273" y="4548163"/>
            <a:ext cx="2612176" cy="2361331"/>
            <a:chOff x="2657273" y="4548163"/>
            <a:chExt cx="2612176" cy="2361331"/>
          </a:xfrm>
        </p:grpSpPr>
        <p:sp>
          <p:nvSpPr>
            <p:cNvPr id="39" name="Rectangle 38"/>
            <p:cNvSpPr/>
            <p:nvPr/>
          </p:nvSpPr>
          <p:spPr>
            <a:xfrm rot="19380000">
              <a:off x="2699515" y="4548163"/>
              <a:ext cx="256993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 smtClean="0">
                  <a:solidFill>
                    <a:schemeClr val="bg1"/>
                  </a:solidFill>
                  <a:latin typeface="Arial" charset="0"/>
                  <a:cs typeface="Arial" charset="0"/>
                </a:rPr>
                <a:t>and </a:t>
              </a:r>
              <a:r>
                <a:rPr lang="en-US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co-responsibility </a:t>
              </a:r>
              <a:endParaRPr lang="en-AU" dirty="0">
                <a:solidFill>
                  <a:schemeClr val="bg1"/>
                </a:solidFill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 rot="17160000">
              <a:off x="1988779" y="5871669"/>
              <a:ext cx="17063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communion</a:t>
              </a:r>
              <a:endParaRPr lang="en-AU" dirty="0"/>
            </a:p>
          </p:txBody>
        </p:sp>
      </p:grpSp>
      <p:sp>
        <p:nvSpPr>
          <p:cNvPr id="44" name="Rectangle 43"/>
          <p:cNvSpPr/>
          <p:nvPr/>
        </p:nvSpPr>
        <p:spPr>
          <a:xfrm>
            <a:off x="7749130" y="3254838"/>
            <a:ext cx="43524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rial" charset="0"/>
                <a:cs typeface="Arial" charset="0"/>
              </a:rPr>
              <a:t>International Institute </a:t>
            </a:r>
            <a:r>
              <a:rPr lang="en-US" dirty="0">
                <a:solidFill>
                  <a:schemeClr val="bg1"/>
                </a:solidFill>
                <a:latin typeface="Arial" charset="0"/>
                <a:cs typeface="Arial" charset="0"/>
              </a:rPr>
              <a:t>- a </a:t>
            </a:r>
            <a:r>
              <a:rPr lang="en-US" b="1" dirty="0">
                <a:solidFill>
                  <a:schemeClr val="bg1"/>
                </a:solidFill>
                <a:latin typeface="Arial" charset="0"/>
                <a:cs typeface="Arial" charset="0"/>
              </a:rPr>
              <a:t>Global Body </a:t>
            </a:r>
            <a:endParaRPr lang="en-AU" dirty="0">
              <a:solidFill>
                <a:schemeClr val="bg1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5331796" y="2836402"/>
            <a:ext cx="15963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2800" b="1" dirty="0" smtClean="0">
                <a:solidFill>
                  <a:schemeClr val="bg1"/>
                </a:solidFill>
              </a:rPr>
              <a:t>NEW MODELS</a:t>
            </a:r>
            <a:endParaRPr lang="en-AU" sz="2800" b="1" dirty="0">
              <a:solidFill>
                <a:schemeClr val="bg1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350579" y="204911"/>
            <a:ext cx="9703076" cy="6217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9900" b="1" dirty="0" smtClean="0">
                <a:ln w="6600">
                  <a:solidFill>
                    <a:srgbClr val="C00000"/>
                  </a:solidFill>
                  <a:prstDash val="solid"/>
                </a:ln>
                <a:effectLst>
                  <a:outerShdw dist="38100" dir="2700000" algn="tl" rotWithShape="0">
                    <a:schemeClr val="accent2"/>
                  </a:outerShdw>
                </a:effectLst>
              </a:rPr>
              <a:t>ROAD MAP</a:t>
            </a:r>
            <a:endParaRPr lang="en-AU" sz="19900" b="1" dirty="0">
              <a:ln w="6600">
                <a:solidFill>
                  <a:srgbClr val="C00000"/>
                </a:solidFill>
                <a:prstDash val="solid"/>
              </a:ln>
              <a:effectLst>
                <a:outerShdw dist="38100" dir="2700000" algn="tl" rotWithShape="0">
                  <a:schemeClr val="accent2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987716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00"/>
                            </p:stCondLst>
                            <p:childTnLst>
                              <p:par>
                                <p:cTn id="56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00"/>
                            </p:stCondLst>
                            <p:childTnLst>
                              <p:par>
                                <p:cTn id="68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500"/>
                            </p:stCondLst>
                            <p:childTnLst>
                              <p:par>
                                <p:cTn id="80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00"/>
                            </p:stCondLst>
                            <p:childTnLst>
                              <p:par>
                                <p:cTn id="92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500"/>
                            </p:stCondLst>
                            <p:childTnLst>
                              <p:par>
                                <p:cTn id="104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9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 animBg="1"/>
      <p:bldP spid="5" grpId="0" animBg="1"/>
      <p:bldP spid="6" grpId="0" animBg="1"/>
      <p:bldP spid="7" grpId="0" animBg="1"/>
      <p:bldP spid="8" grpId="0" animBg="1"/>
      <p:bldP spid="26" grpId="0" animBg="1"/>
      <p:bldP spid="34" grpId="0"/>
      <p:bldP spid="36" grpId="0"/>
      <p:bldP spid="38" grpId="0"/>
      <p:bldP spid="40" grpId="0"/>
      <p:bldP spid="41" grpId="0"/>
      <p:bldP spid="44" grpId="0"/>
      <p:bldP spid="45" grpId="0"/>
      <p:bldP spid="4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mage result for round table discuss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61291" y="-1046543"/>
            <a:ext cx="12915420" cy="9674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1138910" y="1312271"/>
            <a:ext cx="9440698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GB" sz="2800" b="1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ich of the Guidelines do you consider to be the </a:t>
            </a:r>
            <a:endParaRPr lang="en-GB" sz="2800" b="1" i="1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</a:pPr>
            <a:r>
              <a:rPr lang="en-GB" sz="2800" b="1" i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st </a:t>
            </a:r>
            <a:r>
              <a:rPr lang="en-GB" sz="2800" b="1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allenging in the context of your AU</a:t>
            </a:r>
            <a:r>
              <a:rPr lang="en-GB" sz="2800" b="1" i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</a:p>
          <a:p>
            <a:pPr algn="ctr">
              <a:spcAft>
                <a:spcPts val="0"/>
              </a:spcAft>
            </a:pPr>
            <a:endParaRPr lang="en-AU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</a:pPr>
            <a:r>
              <a:rPr lang="es-ES" sz="2800" b="1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¿Cuáles consideras serían las </a:t>
            </a:r>
            <a:r>
              <a:rPr lang="es-ES" sz="2800" b="1" i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íneas directrices más desafiantes </a:t>
            </a:r>
            <a:r>
              <a:rPr lang="es-ES" sz="2800" b="1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a tu realidad?</a:t>
            </a:r>
            <a:endParaRPr lang="en-AU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1177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Image result for round table discussion"/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61291" y="-1046543"/>
            <a:ext cx="12915420" cy="9674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1774209" y="743803"/>
            <a:ext cx="10417791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Arial" charset="0"/>
                <a:cs typeface="Arial" charset="0"/>
              </a:rPr>
              <a:t>At the beginning of the third centennial we search for the most adequate ways to </a:t>
            </a:r>
            <a:endParaRPr lang="en-US" dirty="0" smtClean="0">
              <a:latin typeface="Arial" charset="0"/>
              <a:cs typeface="Arial" charset="0"/>
            </a:endParaRPr>
          </a:p>
          <a:p>
            <a:r>
              <a:rPr lang="en-US" b="1" dirty="0" smtClean="0">
                <a:latin typeface="Arial" charset="0"/>
                <a:cs typeface="Arial" charset="0"/>
              </a:rPr>
              <a:t>ensure </a:t>
            </a:r>
            <a:r>
              <a:rPr lang="en-US" b="1" dirty="0">
                <a:latin typeface="Arial" charset="0"/>
                <a:cs typeface="Arial" charset="0"/>
              </a:rPr>
              <a:t>the Sustainability And Vitality of the Marist Mission</a:t>
            </a:r>
            <a:r>
              <a:rPr lang="en-US" b="1" dirty="0" smtClean="0">
                <a:latin typeface="Arial" charset="0"/>
                <a:cs typeface="Arial" charset="0"/>
              </a:rPr>
              <a:t>.</a:t>
            </a:r>
          </a:p>
          <a:p>
            <a:endParaRPr lang="en-US" b="1" dirty="0">
              <a:latin typeface="Arial" charset="0"/>
              <a:cs typeface="Arial" charset="0"/>
            </a:endParaRPr>
          </a:p>
          <a:p>
            <a:r>
              <a:rPr lang="en-US" dirty="0">
                <a:latin typeface="Arial" charset="0"/>
                <a:cs typeface="Arial" charset="0"/>
              </a:rPr>
              <a:t>We develop people who are happy, passionate and committed to the Marist charism; for them we </a:t>
            </a:r>
            <a:r>
              <a:rPr lang="en-US" dirty="0" smtClean="0">
                <a:latin typeface="Arial" charset="0"/>
                <a:cs typeface="Arial" charset="0"/>
              </a:rPr>
              <a:t>promote </a:t>
            </a:r>
            <a:r>
              <a:rPr lang="en-US" b="1" dirty="0" smtClean="0">
                <a:latin typeface="Arial" charset="0"/>
                <a:cs typeface="Arial" charset="0"/>
              </a:rPr>
              <a:t>experiences </a:t>
            </a:r>
            <a:r>
              <a:rPr lang="en-US" b="1" dirty="0">
                <a:latin typeface="Arial" charset="0"/>
                <a:cs typeface="Arial" charset="0"/>
              </a:rPr>
              <a:t>and accompaniment and formation processes  </a:t>
            </a:r>
            <a:r>
              <a:rPr lang="en-US" dirty="0" smtClean="0">
                <a:latin typeface="Arial" charset="0"/>
                <a:cs typeface="Arial" charset="0"/>
              </a:rPr>
              <a:t>at </a:t>
            </a:r>
            <a:r>
              <a:rPr lang="en-US" dirty="0">
                <a:latin typeface="Arial" charset="0"/>
                <a:cs typeface="Arial" charset="0"/>
              </a:rPr>
              <a:t>all levels of the Institute</a:t>
            </a:r>
            <a:r>
              <a:rPr lang="en-US" dirty="0" smtClean="0">
                <a:latin typeface="Arial" charset="0"/>
                <a:cs typeface="Arial" charset="0"/>
              </a:rPr>
              <a:t>.</a:t>
            </a:r>
          </a:p>
          <a:p>
            <a:endParaRPr lang="en-US" dirty="0">
              <a:latin typeface="Arial" charset="0"/>
              <a:cs typeface="Arial" charset="0"/>
            </a:endParaRPr>
          </a:p>
          <a:p>
            <a:r>
              <a:rPr lang="en-US" dirty="0">
                <a:latin typeface="Arial" charset="0"/>
                <a:cs typeface="Arial" charset="0"/>
              </a:rPr>
              <a:t>We identify ourselves as an </a:t>
            </a:r>
            <a:r>
              <a:rPr lang="en-US" b="1" dirty="0" smtClean="0">
                <a:latin typeface="Arial" charset="0"/>
                <a:cs typeface="Arial" charset="0"/>
              </a:rPr>
              <a:t>international </a:t>
            </a:r>
            <a:r>
              <a:rPr lang="en-US" b="1" dirty="0">
                <a:latin typeface="Arial" charset="0"/>
                <a:cs typeface="Arial" charset="0"/>
              </a:rPr>
              <a:t>Institute </a:t>
            </a:r>
            <a:r>
              <a:rPr lang="en-US" dirty="0">
                <a:latin typeface="Arial" charset="0"/>
                <a:cs typeface="Arial" charset="0"/>
              </a:rPr>
              <a:t>acting as a </a:t>
            </a:r>
            <a:r>
              <a:rPr lang="en-US" b="1" dirty="0">
                <a:latin typeface="Arial" charset="0"/>
                <a:cs typeface="Arial" charset="0"/>
              </a:rPr>
              <a:t>global body </a:t>
            </a:r>
            <a:endParaRPr lang="en-US" b="1" dirty="0" smtClean="0">
              <a:latin typeface="Arial" charset="0"/>
              <a:cs typeface="Arial" charset="0"/>
            </a:endParaRPr>
          </a:p>
          <a:p>
            <a:r>
              <a:rPr lang="en-US" dirty="0" smtClean="0">
                <a:latin typeface="Arial" charset="0"/>
                <a:cs typeface="Arial" charset="0"/>
              </a:rPr>
              <a:t>in </a:t>
            </a:r>
            <a:r>
              <a:rPr lang="en-US" dirty="0">
                <a:latin typeface="Arial" charset="0"/>
                <a:cs typeface="Arial" charset="0"/>
              </a:rPr>
              <a:t>all dimensions of the Marist life and Mission</a:t>
            </a:r>
            <a:r>
              <a:rPr lang="en-US" dirty="0" smtClean="0">
                <a:latin typeface="Arial" charset="0"/>
                <a:cs typeface="Arial" charset="0"/>
              </a:rPr>
              <a:t>.</a:t>
            </a:r>
          </a:p>
          <a:p>
            <a:endParaRPr lang="en-US" dirty="0">
              <a:latin typeface="Arial" charset="0"/>
              <a:cs typeface="Arial" charset="0"/>
            </a:endParaRPr>
          </a:p>
          <a:p>
            <a:r>
              <a:rPr lang="en-US" dirty="0">
                <a:latin typeface="Arial" charset="0"/>
                <a:cs typeface="Arial" charset="0"/>
              </a:rPr>
              <a:t>We prioritize the </a:t>
            </a:r>
            <a:r>
              <a:rPr lang="en-US" dirty="0" smtClean="0">
                <a:latin typeface="Arial" charset="0"/>
                <a:cs typeface="Arial" charset="0"/>
              </a:rPr>
              <a:t>p</a:t>
            </a:r>
            <a:r>
              <a:rPr lang="en-US" b="1" dirty="0" smtClean="0">
                <a:latin typeface="Arial" charset="0"/>
                <a:cs typeface="Arial" charset="0"/>
              </a:rPr>
              <a:t>resence </a:t>
            </a:r>
            <a:r>
              <a:rPr lang="en-US" b="1" dirty="0">
                <a:latin typeface="Arial" charset="0"/>
                <a:cs typeface="Arial" charset="0"/>
              </a:rPr>
              <a:t>and closeness of Brothers and vocational lay people among the children and young people</a:t>
            </a:r>
            <a:r>
              <a:rPr lang="en-US" dirty="0">
                <a:latin typeface="Arial" charset="0"/>
                <a:cs typeface="Arial" charset="0"/>
              </a:rPr>
              <a:t>, especially the poor and vulnerable</a:t>
            </a:r>
            <a:r>
              <a:rPr lang="en-US" dirty="0" smtClean="0">
                <a:latin typeface="Arial" charset="0"/>
                <a:cs typeface="Arial" charset="0"/>
              </a:rPr>
              <a:t>.</a:t>
            </a:r>
          </a:p>
          <a:p>
            <a:endParaRPr lang="en-US" dirty="0">
              <a:latin typeface="Arial" charset="0"/>
              <a:cs typeface="Arial" charset="0"/>
            </a:endParaRPr>
          </a:p>
          <a:p>
            <a:r>
              <a:rPr lang="en-US" dirty="0">
                <a:latin typeface="Arial" charset="0"/>
                <a:cs typeface="Arial" charset="0"/>
              </a:rPr>
              <a:t>We experience and undertake </a:t>
            </a:r>
            <a:r>
              <a:rPr lang="en-US" b="1" dirty="0">
                <a:latin typeface="Arial" charset="0"/>
                <a:cs typeface="Arial" charset="0"/>
              </a:rPr>
              <a:t>communion and co-responsibility </a:t>
            </a:r>
            <a:r>
              <a:rPr lang="en-US" dirty="0">
                <a:latin typeface="Arial" charset="0"/>
                <a:cs typeface="Arial" charset="0"/>
              </a:rPr>
              <a:t>in the Marist Mission</a:t>
            </a:r>
            <a:r>
              <a:rPr lang="en-US" dirty="0" smtClean="0">
                <a:latin typeface="Arial" charset="0"/>
                <a:cs typeface="Arial" charset="0"/>
              </a:rPr>
              <a:t>.</a:t>
            </a:r>
          </a:p>
          <a:p>
            <a:endParaRPr lang="en-US" dirty="0">
              <a:latin typeface="Arial" charset="0"/>
              <a:cs typeface="Arial" charset="0"/>
            </a:endParaRPr>
          </a:p>
          <a:p>
            <a:r>
              <a:rPr lang="en-US" dirty="0">
                <a:latin typeface="Arial" charset="0"/>
                <a:cs typeface="Arial" charset="0"/>
              </a:rPr>
              <a:t>We take up at all levels of the Institute (AUs, Regions and General Government) </a:t>
            </a:r>
            <a:r>
              <a:rPr lang="en-US" b="1" dirty="0" smtClean="0">
                <a:latin typeface="Arial" charset="0"/>
                <a:cs typeface="Arial" charset="0"/>
              </a:rPr>
              <a:t>participation </a:t>
            </a:r>
            <a:r>
              <a:rPr lang="en-US" b="1" dirty="0">
                <a:latin typeface="Arial" charset="0"/>
                <a:cs typeface="Arial" charset="0"/>
              </a:rPr>
              <a:t>and co-responsibility </a:t>
            </a:r>
            <a:r>
              <a:rPr lang="en-US" dirty="0" smtClean="0">
                <a:latin typeface="Arial" charset="0"/>
                <a:cs typeface="Arial" charset="0"/>
              </a:rPr>
              <a:t>in </a:t>
            </a:r>
            <a:r>
              <a:rPr lang="en-US" dirty="0">
                <a:latin typeface="Arial" charset="0"/>
                <a:cs typeface="Arial" charset="0"/>
              </a:rPr>
              <a:t>the animation, government and management of the Marist Mission</a:t>
            </a:r>
            <a:r>
              <a:rPr lang="en-US" dirty="0" smtClean="0">
                <a:latin typeface="Arial" charset="0"/>
                <a:cs typeface="Arial" charset="0"/>
              </a:rPr>
              <a:t>.</a:t>
            </a:r>
          </a:p>
          <a:p>
            <a:endParaRPr lang="en-US" dirty="0">
              <a:latin typeface="Arial" charset="0"/>
              <a:cs typeface="Arial" charset="0"/>
            </a:endParaRPr>
          </a:p>
          <a:p>
            <a:r>
              <a:rPr lang="en-US" dirty="0">
                <a:latin typeface="Arial" charset="0"/>
                <a:cs typeface="Arial" charset="0"/>
              </a:rPr>
              <a:t>In order to respond to the calls and challenges of our Mission, we search for </a:t>
            </a:r>
            <a:r>
              <a:rPr lang="en-US" b="1" dirty="0" smtClean="0">
                <a:latin typeface="Arial" charset="0"/>
                <a:cs typeface="Arial" charset="0"/>
              </a:rPr>
              <a:t>appropriate </a:t>
            </a:r>
            <a:r>
              <a:rPr lang="en-US" b="1" dirty="0">
                <a:latin typeface="Arial" charset="0"/>
                <a:cs typeface="Arial" charset="0"/>
              </a:rPr>
              <a:t>structures </a:t>
            </a:r>
            <a:endParaRPr lang="en-US" b="1" dirty="0" smtClean="0">
              <a:latin typeface="Arial" charset="0"/>
              <a:cs typeface="Arial" charset="0"/>
            </a:endParaRPr>
          </a:p>
          <a:p>
            <a:r>
              <a:rPr lang="en-US" dirty="0" smtClean="0">
                <a:latin typeface="Arial" charset="0"/>
                <a:cs typeface="Arial" charset="0"/>
              </a:rPr>
              <a:t>and </a:t>
            </a:r>
            <a:r>
              <a:rPr lang="en-US" dirty="0">
                <a:latin typeface="Arial" charset="0"/>
                <a:cs typeface="Arial" charset="0"/>
              </a:rPr>
              <a:t>clearly define roles and responsibilities of people.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78185" y="672152"/>
            <a:ext cx="696024" cy="5498614"/>
          </a:xfrm>
          <a:prstGeom prst="rect">
            <a:avLst/>
          </a:prstGeom>
          <a:solidFill>
            <a:schemeClr val="accent2"/>
          </a:solidFill>
        </p:spPr>
        <p:txBody>
          <a:bodyPr vert="wordArtVert" wrap="square" rtlCol="0">
            <a:spAutoFit/>
          </a:bodyPr>
          <a:lstStyle/>
          <a:p>
            <a:r>
              <a:rPr lang="en-AU" sz="28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GUIDELINES</a:t>
            </a:r>
            <a:endParaRPr lang="en-AU" sz="2800" dirty="0"/>
          </a:p>
        </p:txBody>
      </p:sp>
      <p:sp>
        <p:nvSpPr>
          <p:cNvPr id="10" name="Rectangle 9"/>
          <p:cNvSpPr/>
          <p:nvPr/>
        </p:nvSpPr>
        <p:spPr>
          <a:xfrm>
            <a:off x="1078185" y="35917"/>
            <a:ext cx="10727128" cy="707886"/>
          </a:xfrm>
          <a:prstGeom prst="rect">
            <a:avLst/>
          </a:prstGeom>
          <a:solidFill>
            <a:srgbClr val="ED7D31"/>
          </a:solidFill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GB" sz="2000" b="1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ich of the Guidelines do you consider to be the  </a:t>
            </a:r>
            <a:r>
              <a:rPr lang="en-GB" sz="2000" b="1" i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st </a:t>
            </a:r>
            <a:r>
              <a:rPr lang="en-GB" sz="2000" b="1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allenging in the context of your AU</a:t>
            </a:r>
            <a:r>
              <a:rPr lang="en-GB" sz="2000" b="1" i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</a:p>
          <a:p>
            <a:pPr algn="ctr">
              <a:spcAft>
                <a:spcPts val="0"/>
              </a:spcAft>
            </a:pPr>
            <a:r>
              <a:rPr lang="es-ES" sz="2000" b="1" i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¿</a:t>
            </a:r>
            <a:r>
              <a:rPr lang="es-ES" sz="2000" b="1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áles consideras serían las desafiantes para tu realidad?</a:t>
            </a:r>
            <a:endParaRPr lang="en-AU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4153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1617650" y="2168860"/>
            <a:ext cx="1645554" cy="4578842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GB" sz="14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ur Marist principles …</a:t>
            </a:r>
            <a:endParaRPr lang="en-GB" dirty="0"/>
          </a:p>
        </p:txBody>
      </p:sp>
      <p:sp>
        <p:nvSpPr>
          <p:cNvPr id="29" name="TextBox 28"/>
          <p:cNvSpPr txBox="1"/>
          <p:nvPr/>
        </p:nvSpPr>
        <p:spPr>
          <a:xfrm>
            <a:off x="1633079" y="2205623"/>
            <a:ext cx="1651093" cy="221599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n-GB" sz="1600" b="1" i="1" dirty="0">
                <a:solidFill>
                  <a:srgbClr val="364086"/>
                </a:solidFill>
                <a:latin typeface="Arial "/>
              </a:rPr>
              <a:t>Key components</a:t>
            </a:r>
          </a:p>
        </p:txBody>
      </p:sp>
      <p:sp>
        <p:nvSpPr>
          <p:cNvPr id="16" name="Rectangle 5"/>
          <p:cNvSpPr txBox="1">
            <a:spLocks noChangeArrowheads="1"/>
          </p:cNvSpPr>
          <p:nvPr/>
        </p:nvSpPr>
        <p:spPr>
          <a:xfrm>
            <a:off x="8507364" y="139701"/>
            <a:ext cx="1909177" cy="166199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6350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vert="horz" wrap="non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r"/>
            <a:r>
              <a:rPr lang="en-GB" sz="1200" dirty="0">
                <a:solidFill>
                  <a:srgbClr val="000000"/>
                </a:solidFill>
                <a:latin typeface="Arial"/>
              </a:rPr>
              <a:t>Overview and key principles</a:t>
            </a:r>
          </a:p>
        </p:txBody>
      </p:sp>
      <p:sp>
        <p:nvSpPr>
          <p:cNvPr id="20" name="Freeform 4"/>
          <p:cNvSpPr>
            <a:spLocks/>
          </p:cNvSpPr>
          <p:nvPr/>
        </p:nvSpPr>
        <p:spPr bwMode="gray">
          <a:xfrm>
            <a:off x="4343325" y="2635013"/>
            <a:ext cx="6085131" cy="584297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wrap="square" lIns="72000" tIns="72000" rIns="72000" bIns="72000" anchor="ctr"/>
          <a:lstStyle/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400" dirty="0">
                <a:solidFill>
                  <a:srgbClr val="000000"/>
                </a:solidFill>
                <a:latin typeface="Arial"/>
                <a:cs typeface="Arial" pitchFamily="34" charset="0"/>
              </a:rPr>
              <a:t>Family spirit, love of work, in the way of Mary, presence …</a:t>
            </a:r>
          </a:p>
          <a:p>
            <a:pPr marL="181584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</a:pPr>
            <a:r>
              <a:rPr lang="en-GB" sz="1400" dirty="0">
                <a:solidFill>
                  <a:srgbClr val="000000"/>
                </a:solidFill>
                <a:latin typeface="Arial"/>
                <a:cs typeface="Arial" pitchFamily="34" charset="0"/>
              </a:rPr>
              <a:t>… with humility, simplicity and modesty. </a:t>
            </a:r>
          </a:p>
        </p:txBody>
      </p:sp>
      <p:sp>
        <p:nvSpPr>
          <p:cNvPr id="24" name="Freeform 4"/>
          <p:cNvSpPr>
            <a:spLocks/>
          </p:cNvSpPr>
          <p:nvPr/>
        </p:nvSpPr>
        <p:spPr bwMode="gray">
          <a:xfrm>
            <a:off x="4343325" y="4711313"/>
            <a:ext cx="6085131" cy="584297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wrap="square" lIns="72000" tIns="72000" rIns="72000" bIns="72000" anchor="ctr"/>
          <a:lstStyle/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Deeply connected with the Church and the society.</a:t>
            </a:r>
          </a:p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Thinking globally, acting locally</a:t>
            </a:r>
          </a:p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Able to benefit from innovation.</a:t>
            </a:r>
          </a:p>
        </p:txBody>
      </p:sp>
      <p:sp>
        <p:nvSpPr>
          <p:cNvPr id="31" name="Freeform 4"/>
          <p:cNvSpPr>
            <a:spLocks/>
          </p:cNvSpPr>
          <p:nvPr/>
        </p:nvSpPr>
        <p:spPr bwMode="gray">
          <a:xfrm>
            <a:off x="4343780" y="5403413"/>
            <a:ext cx="6085131" cy="584297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wrap="square" lIns="72000" tIns="72000" rIns="72000" bIns="72000" anchor="ctr"/>
          <a:lstStyle/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Co-responsibility, spirit of communion, eventually forming a “charismatic family”.</a:t>
            </a:r>
          </a:p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Dialogue, mutual support, respect an learning from each other </a:t>
            </a:r>
          </a:p>
        </p:txBody>
      </p:sp>
      <p:sp>
        <p:nvSpPr>
          <p:cNvPr id="23" name="Freeform 4"/>
          <p:cNvSpPr>
            <a:spLocks/>
          </p:cNvSpPr>
          <p:nvPr/>
        </p:nvSpPr>
        <p:spPr bwMode="gray">
          <a:xfrm>
            <a:off x="4343325" y="3327113"/>
            <a:ext cx="6085131" cy="584297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solidFill>
              <a:schemeClr val="accent6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wrap="square" lIns="72000" tIns="72000" rIns="72000" bIns="72000" anchor="ctr"/>
          <a:lstStyle/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400" dirty="0">
                <a:latin typeface="Arial"/>
                <a:cs typeface="Arial" pitchFamily="34" charset="0"/>
              </a:rPr>
              <a:t>Apostolic and Marian expressed today as mystics and prophets in communion</a:t>
            </a:r>
          </a:p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US" sz="1400" dirty="0">
                <a:latin typeface="Arial"/>
                <a:cs typeface="Arial" pitchFamily="34" charset="0"/>
              </a:rPr>
              <a:t>Marian face of the Church</a:t>
            </a:r>
          </a:p>
        </p:txBody>
      </p:sp>
      <p:sp>
        <p:nvSpPr>
          <p:cNvPr id="26" name="Freeform 4"/>
          <p:cNvSpPr>
            <a:spLocks/>
          </p:cNvSpPr>
          <p:nvPr/>
        </p:nvSpPr>
        <p:spPr bwMode="gray">
          <a:xfrm>
            <a:off x="4343565" y="4019213"/>
            <a:ext cx="6085131" cy="584297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wrap="square" lIns="72000" tIns="72000" rIns="72000" bIns="72000" anchor="ctr"/>
          <a:lstStyle/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One global body to serve our Mission.</a:t>
            </a:r>
          </a:p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Co-responsibility and global availability.</a:t>
            </a:r>
          </a:p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Sharing of resources.</a:t>
            </a:r>
          </a:p>
        </p:txBody>
      </p:sp>
      <p:sp>
        <p:nvSpPr>
          <p:cNvPr id="36" name="Freeform 4"/>
          <p:cNvSpPr>
            <a:spLocks/>
          </p:cNvSpPr>
          <p:nvPr/>
        </p:nvSpPr>
        <p:spPr bwMode="gray">
          <a:xfrm>
            <a:off x="4343325" y="6095514"/>
            <a:ext cx="6085131" cy="584297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wrap="square" lIns="72000" tIns="72000" rIns="72000" bIns="72000" anchor="ctr"/>
          <a:lstStyle/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Builders of the kingdom of God making Jesus known and loved,</a:t>
            </a:r>
          </a:p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Through education and evangelization with new methods and languages</a:t>
            </a:r>
          </a:p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In the new peripheries of the world.</a:t>
            </a:r>
          </a:p>
        </p:txBody>
      </p:sp>
      <p:sp>
        <p:nvSpPr>
          <p:cNvPr id="19" name="AutoShape 3"/>
          <p:cNvSpPr>
            <a:spLocks noChangeArrowheads="1"/>
          </p:cNvSpPr>
          <p:nvPr/>
        </p:nvSpPr>
        <p:spPr bwMode="gray">
          <a:xfrm>
            <a:off x="1787040" y="2635013"/>
            <a:ext cx="2736304" cy="584297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120" tIns="71120" rIns="71120" bIns="711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16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ased on core Marist values …</a:t>
            </a:r>
          </a:p>
        </p:txBody>
      </p:sp>
      <p:sp>
        <p:nvSpPr>
          <p:cNvPr id="21" name="AutoShape 3"/>
          <p:cNvSpPr>
            <a:spLocks noChangeArrowheads="1"/>
          </p:cNvSpPr>
          <p:nvPr/>
        </p:nvSpPr>
        <p:spPr bwMode="gray">
          <a:xfrm>
            <a:off x="1787040" y="4711313"/>
            <a:ext cx="2736304" cy="584297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120" tIns="71120" rIns="71120" bIns="711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16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… immersed in the world of our times …</a:t>
            </a:r>
          </a:p>
        </p:txBody>
      </p:sp>
      <p:sp>
        <p:nvSpPr>
          <p:cNvPr id="27" name="AutoShape 3"/>
          <p:cNvSpPr>
            <a:spLocks noChangeArrowheads="1"/>
          </p:cNvSpPr>
          <p:nvPr/>
        </p:nvSpPr>
        <p:spPr bwMode="gray">
          <a:xfrm>
            <a:off x="1787495" y="5403413"/>
            <a:ext cx="2736304" cy="584297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120" tIns="71120" rIns="71120" bIns="711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16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… with a new relationship among Brothers and lay…</a:t>
            </a:r>
          </a:p>
        </p:txBody>
      </p:sp>
      <p:sp>
        <p:nvSpPr>
          <p:cNvPr id="22" name="AutoShape 3"/>
          <p:cNvSpPr>
            <a:spLocks noChangeArrowheads="1"/>
          </p:cNvSpPr>
          <p:nvPr/>
        </p:nvSpPr>
        <p:spPr bwMode="gray">
          <a:xfrm>
            <a:off x="1787040" y="3327113"/>
            <a:ext cx="2736304" cy="584297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120" tIns="71120" rIns="71120" bIns="711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16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… with a particular spirituality…</a:t>
            </a:r>
          </a:p>
        </p:txBody>
      </p:sp>
      <p:sp>
        <p:nvSpPr>
          <p:cNvPr id="25" name="AutoShape 3"/>
          <p:cNvSpPr>
            <a:spLocks noChangeArrowheads="1"/>
          </p:cNvSpPr>
          <p:nvPr/>
        </p:nvSpPr>
        <p:spPr bwMode="gray">
          <a:xfrm>
            <a:off x="1787280" y="4019213"/>
            <a:ext cx="2736304" cy="584297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120" tIns="71120" rIns="71120" bIns="711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16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… we are a global Institute …</a:t>
            </a:r>
          </a:p>
        </p:txBody>
      </p:sp>
      <p:sp>
        <p:nvSpPr>
          <p:cNvPr id="35" name="AutoShape 3"/>
          <p:cNvSpPr>
            <a:spLocks noChangeArrowheads="1"/>
          </p:cNvSpPr>
          <p:nvPr/>
        </p:nvSpPr>
        <p:spPr bwMode="gray">
          <a:xfrm>
            <a:off x="1787040" y="6095514"/>
            <a:ext cx="2736304" cy="584297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120" tIns="71120" rIns="71120" bIns="711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16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… serving children and young people</a:t>
            </a:r>
          </a:p>
        </p:txBody>
      </p:sp>
      <p:sp>
        <p:nvSpPr>
          <p:cNvPr id="28" name="Freeform 4"/>
          <p:cNvSpPr>
            <a:spLocks/>
          </p:cNvSpPr>
          <p:nvPr/>
        </p:nvSpPr>
        <p:spPr bwMode="gray">
          <a:xfrm>
            <a:off x="4266923" y="1304764"/>
            <a:ext cx="6085371" cy="613400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wrap="square" lIns="72000" tIns="72000" rIns="72000" bIns="72000" anchor="ctr"/>
          <a:lstStyle/>
          <a:p>
            <a:pPr marL="309600" indent="-128016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n-GB" sz="1400" dirty="0">
                <a:solidFill>
                  <a:srgbClr val="000000"/>
                </a:solidFill>
                <a:latin typeface="Arial"/>
                <a:cs typeface="Arial" pitchFamily="34" charset="0"/>
              </a:rPr>
              <a:t>Make Jesus known and loved (c.2)</a:t>
            </a:r>
            <a:r>
              <a:rPr lang="en-GB" sz="14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 </a:t>
            </a:r>
            <a:r>
              <a:rPr lang="en-GB" sz="1400" dirty="0">
                <a:solidFill>
                  <a:srgbClr val="000000"/>
                </a:solidFill>
                <a:latin typeface="Arial"/>
                <a:cs typeface="Arial" pitchFamily="34" charset="0"/>
              </a:rPr>
              <a:t>with a significant presence among poor children and young people.</a:t>
            </a:r>
          </a:p>
        </p:txBody>
      </p:sp>
      <p:sp>
        <p:nvSpPr>
          <p:cNvPr id="32" name="AutoShape 3"/>
          <p:cNvSpPr>
            <a:spLocks noChangeArrowheads="1"/>
          </p:cNvSpPr>
          <p:nvPr/>
        </p:nvSpPr>
        <p:spPr bwMode="gray">
          <a:xfrm>
            <a:off x="1602626" y="1304764"/>
            <a:ext cx="2844771" cy="613400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>
            <a:noFill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16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ne Mission</a:t>
            </a:r>
          </a:p>
        </p:txBody>
      </p:sp>
    </p:spTree>
    <p:extLst>
      <p:ext uri="{BB962C8B-B14F-4D97-AF65-F5344CB8AC3E}">
        <p14:creationId xmlns:p14="http://schemas.microsoft.com/office/powerpoint/2010/main" val="288734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… inspired some New Models Project principles</a:t>
            </a:r>
            <a:endParaRPr lang="en-GB" dirty="0"/>
          </a:p>
        </p:txBody>
      </p:sp>
      <p:sp>
        <p:nvSpPr>
          <p:cNvPr id="34" name="Freeform 4"/>
          <p:cNvSpPr>
            <a:spLocks/>
          </p:cNvSpPr>
          <p:nvPr/>
        </p:nvSpPr>
        <p:spPr bwMode="gray">
          <a:xfrm>
            <a:off x="4309358" y="1512556"/>
            <a:ext cx="6085131" cy="584297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wrap="square" lIns="72000" tIns="72000" rIns="72000" bIns="72000" anchor="ctr"/>
          <a:lstStyle/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The vitality of the Mission is result of the passion for  Marist  life  and commitment of Brothers and lay people performing a charismatic family.</a:t>
            </a:r>
          </a:p>
        </p:txBody>
      </p:sp>
      <p:sp>
        <p:nvSpPr>
          <p:cNvPr id="37" name="AutoShape 3"/>
          <p:cNvSpPr>
            <a:spLocks noChangeArrowheads="1"/>
          </p:cNvSpPr>
          <p:nvPr/>
        </p:nvSpPr>
        <p:spPr bwMode="gray">
          <a:xfrm>
            <a:off x="1703389" y="1512556"/>
            <a:ext cx="2785989" cy="584297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120" tIns="71120" rIns="71120" bIns="711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16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assion</a:t>
            </a:r>
            <a:r>
              <a:rPr lang="en-GB" sz="16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for the Marist life and Mission</a:t>
            </a:r>
          </a:p>
        </p:txBody>
      </p:sp>
      <p:sp>
        <p:nvSpPr>
          <p:cNvPr id="39" name="Freeform 4"/>
          <p:cNvSpPr>
            <a:spLocks/>
          </p:cNvSpPr>
          <p:nvPr/>
        </p:nvSpPr>
        <p:spPr bwMode="gray">
          <a:xfrm>
            <a:off x="4309358" y="6085064"/>
            <a:ext cx="6085131" cy="584297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wrap="square" lIns="72000" tIns="72000" rIns="72000" bIns="72000" anchor="ctr"/>
          <a:lstStyle/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In resource allocation and use.</a:t>
            </a:r>
          </a:p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In communication internal and external.</a:t>
            </a:r>
          </a:p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In the behaviour and attitudes of people.</a:t>
            </a:r>
          </a:p>
        </p:txBody>
      </p:sp>
      <p:sp>
        <p:nvSpPr>
          <p:cNvPr id="40" name="AutoShape 3"/>
          <p:cNvSpPr>
            <a:spLocks noChangeArrowheads="1"/>
          </p:cNvSpPr>
          <p:nvPr/>
        </p:nvSpPr>
        <p:spPr bwMode="gray">
          <a:xfrm>
            <a:off x="1703389" y="6085064"/>
            <a:ext cx="2785989" cy="584297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120" tIns="71120" rIns="71120" bIns="711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16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ransparency</a:t>
            </a:r>
          </a:p>
        </p:txBody>
      </p:sp>
      <p:sp>
        <p:nvSpPr>
          <p:cNvPr id="42" name="Freeform 4"/>
          <p:cNvSpPr>
            <a:spLocks/>
          </p:cNvSpPr>
          <p:nvPr/>
        </p:nvSpPr>
        <p:spPr bwMode="gray">
          <a:xfrm>
            <a:off x="4309358" y="2862506"/>
            <a:ext cx="6085131" cy="584297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wrap="square" lIns="72000" tIns="72000" rIns="72000" bIns="72000" anchor="ctr"/>
          <a:lstStyle/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In the life and Mission at all levels and dimensions of the Marist charism. </a:t>
            </a:r>
          </a:p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Among Brothers and lay people, with a significant women's role.</a:t>
            </a:r>
          </a:p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In the decision making and in the allocation of resources.</a:t>
            </a:r>
          </a:p>
        </p:txBody>
      </p:sp>
      <p:sp>
        <p:nvSpPr>
          <p:cNvPr id="43" name="AutoShape 3"/>
          <p:cNvSpPr>
            <a:spLocks noChangeArrowheads="1"/>
          </p:cNvSpPr>
          <p:nvPr/>
        </p:nvSpPr>
        <p:spPr bwMode="gray">
          <a:xfrm>
            <a:off x="1703389" y="2862506"/>
            <a:ext cx="2785989" cy="584297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120" tIns="71120" rIns="71120" bIns="711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16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-responsibility</a:t>
            </a:r>
            <a:r>
              <a:rPr lang="en-GB" sz="16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,</a:t>
            </a:r>
            <a:r>
              <a:rPr lang="en-GB" sz="16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solidarity</a:t>
            </a:r>
            <a:r>
              <a:rPr lang="en-GB" sz="16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and </a:t>
            </a:r>
            <a:r>
              <a:rPr lang="en-GB" sz="16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bsidiarity</a:t>
            </a:r>
          </a:p>
        </p:txBody>
      </p:sp>
      <p:sp>
        <p:nvSpPr>
          <p:cNvPr id="45" name="Freeform 4"/>
          <p:cNvSpPr>
            <a:spLocks/>
          </p:cNvSpPr>
          <p:nvPr/>
        </p:nvSpPr>
        <p:spPr bwMode="gray">
          <a:xfrm>
            <a:off x="4309358" y="3501535"/>
            <a:ext cx="6085131" cy="611944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wrap="square" lIns="72000" tIns="72000" rIns="72000" bIns="72000" anchor="ctr"/>
          <a:lstStyle/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Act as a single body 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strengthening our international identity.</a:t>
            </a:r>
          </a:p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ross cultural competencies.</a:t>
            </a:r>
          </a:p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In interdependency</a:t>
            </a:r>
            <a:r>
              <a:rPr lang="en-GB" sz="13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and cooperation with strong mobility and agility.</a:t>
            </a:r>
          </a:p>
        </p:txBody>
      </p:sp>
      <p:sp>
        <p:nvSpPr>
          <p:cNvPr id="46" name="AutoShape 3"/>
          <p:cNvSpPr>
            <a:spLocks noChangeArrowheads="1"/>
          </p:cNvSpPr>
          <p:nvPr/>
        </p:nvSpPr>
        <p:spPr bwMode="gray">
          <a:xfrm>
            <a:off x="1703389" y="3501477"/>
            <a:ext cx="2785989" cy="611385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120" tIns="71120" rIns="71120" bIns="711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16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Global </a:t>
            </a:r>
            <a:r>
              <a:rPr lang="en-GB" sz="1600" b="1" i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indset</a:t>
            </a:r>
            <a:endParaRPr lang="en-GB" sz="16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Freeform 4"/>
          <p:cNvSpPr>
            <a:spLocks/>
          </p:cNvSpPr>
          <p:nvPr/>
        </p:nvSpPr>
        <p:spPr bwMode="gray">
          <a:xfrm>
            <a:off x="4309358" y="4168154"/>
            <a:ext cx="6085131" cy="584297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wrap="square" lIns="72000" tIns="72000" rIns="72000" bIns="72000" anchor="ctr"/>
          <a:lstStyle/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Recognizing we are different and complementary.  </a:t>
            </a:r>
          </a:p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Learning from each other. </a:t>
            </a:r>
          </a:p>
        </p:txBody>
      </p:sp>
      <p:sp>
        <p:nvSpPr>
          <p:cNvPr id="49" name="AutoShape 3"/>
          <p:cNvSpPr>
            <a:spLocks noChangeArrowheads="1"/>
          </p:cNvSpPr>
          <p:nvPr/>
        </p:nvSpPr>
        <p:spPr bwMode="gray">
          <a:xfrm>
            <a:off x="1703389" y="4168154"/>
            <a:ext cx="2785989" cy="584297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120" tIns="71120" rIns="71120" bIns="711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1600" b="1" i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terculturality</a:t>
            </a:r>
            <a:endParaRPr lang="en-GB" sz="16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Freeform 4"/>
          <p:cNvSpPr>
            <a:spLocks/>
          </p:cNvSpPr>
          <p:nvPr/>
        </p:nvSpPr>
        <p:spPr bwMode="gray">
          <a:xfrm>
            <a:off x="4309358" y="5446096"/>
            <a:ext cx="6085131" cy="584297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wrap="square" lIns="72000" tIns="72000" rIns="72000" bIns="72000" anchor="ctr"/>
          <a:lstStyle/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latin typeface="Arial"/>
                <a:cs typeface="Arial" pitchFamily="34" charset="0"/>
              </a:rPr>
              <a:t>Develop spiritual, ecclesial and professional leaderships on all dimensions.</a:t>
            </a:r>
          </a:p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US" sz="1300" dirty="0">
                <a:latin typeface="Arial"/>
                <a:cs typeface="Arial" pitchFamily="34" charset="0"/>
              </a:rPr>
              <a:t>Building and strengthening the core competences, attitudes and behaviors.</a:t>
            </a:r>
          </a:p>
        </p:txBody>
      </p:sp>
      <p:sp>
        <p:nvSpPr>
          <p:cNvPr id="52" name="AutoShape 3"/>
          <p:cNvSpPr>
            <a:spLocks noChangeArrowheads="1"/>
          </p:cNvSpPr>
          <p:nvPr/>
        </p:nvSpPr>
        <p:spPr bwMode="gray">
          <a:xfrm>
            <a:off x="1703389" y="5446096"/>
            <a:ext cx="2785989" cy="584297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120" tIns="71120" rIns="71120" bIns="711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1584" algn="ctr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</a:pPr>
            <a:r>
              <a:rPr lang="en-GB" sz="1600" b="1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 competences and attitudes</a:t>
            </a:r>
          </a:p>
        </p:txBody>
      </p:sp>
      <p:sp>
        <p:nvSpPr>
          <p:cNvPr id="54" name="Freeform 4"/>
          <p:cNvSpPr>
            <a:spLocks/>
          </p:cNvSpPr>
          <p:nvPr/>
        </p:nvSpPr>
        <p:spPr bwMode="gray">
          <a:xfrm>
            <a:off x="4301207" y="2151527"/>
            <a:ext cx="6085131" cy="656305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wrap="square" lIns="72000" tIns="72000" rIns="72000" bIns="72000" anchor="ctr"/>
          <a:lstStyle/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New languages and methods.</a:t>
            </a:r>
          </a:p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Special among the vulnerable and poor.</a:t>
            </a:r>
          </a:p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Listening, available,  welcoming and accompanying their life´s processes   . </a:t>
            </a:r>
          </a:p>
        </p:txBody>
      </p:sp>
      <p:sp>
        <p:nvSpPr>
          <p:cNvPr id="55" name="AutoShape 3"/>
          <p:cNvSpPr>
            <a:spLocks noChangeArrowheads="1"/>
          </p:cNvSpPr>
          <p:nvPr/>
        </p:nvSpPr>
        <p:spPr bwMode="gray">
          <a:xfrm>
            <a:off x="1703389" y="2151527"/>
            <a:ext cx="2785989" cy="656305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120" tIns="71120" rIns="71120" bIns="711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16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resence</a:t>
            </a:r>
            <a:r>
              <a:rPr lang="en-GB" sz="16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among children and young people </a:t>
            </a:r>
          </a:p>
        </p:txBody>
      </p:sp>
      <p:sp>
        <p:nvSpPr>
          <p:cNvPr id="56" name="Freeform 4"/>
          <p:cNvSpPr>
            <a:spLocks/>
          </p:cNvSpPr>
          <p:nvPr/>
        </p:nvSpPr>
        <p:spPr bwMode="gray">
          <a:xfrm>
            <a:off x="4309358" y="4807125"/>
            <a:ext cx="6085131" cy="584297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wrap="square" lIns="72000" tIns="72000" rIns="72000" bIns="72000" anchor="ctr"/>
          <a:lstStyle/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latin typeface="Arial"/>
                <a:cs typeface="Arial" pitchFamily="34" charset="0"/>
              </a:rPr>
              <a:t>Responding to the calls and challenges of the children and young people .</a:t>
            </a:r>
          </a:p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latin typeface="Arial"/>
                <a:cs typeface="Arial" pitchFamily="34" charset="0"/>
              </a:rPr>
              <a:t>In the style of leadership.</a:t>
            </a:r>
          </a:p>
          <a:p>
            <a:pPr marL="309600" indent="-128016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n-GB" sz="1300" dirty="0">
                <a:latin typeface="Arial"/>
                <a:cs typeface="Arial" pitchFamily="34" charset="0"/>
              </a:rPr>
              <a:t>In the proposals and resources.</a:t>
            </a:r>
          </a:p>
        </p:txBody>
      </p:sp>
      <p:sp>
        <p:nvSpPr>
          <p:cNvPr id="57" name="AutoShape 3"/>
          <p:cNvSpPr>
            <a:spLocks noChangeArrowheads="1"/>
          </p:cNvSpPr>
          <p:nvPr/>
        </p:nvSpPr>
        <p:spPr bwMode="gray">
          <a:xfrm>
            <a:off x="1703389" y="4807125"/>
            <a:ext cx="2785989" cy="584297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120" tIns="71120" rIns="71120" bIns="711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GB" sz="16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eativity and innovation </a:t>
            </a:r>
          </a:p>
        </p:txBody>
      </p:sp>
      <p:sp>
        <p:nvSpPr>
          <p:cNvPr id="31" name="Rectangle 5"/>
          <p:cNvSpPr txBox="1">
            <a:spLocks noChangeArrowheads="1"/>
          </p:cNvSpPr>
          <p:nvPr/>
        </p:nvSpPr>
        <p:spPr>
          <a:xfrm>
            <a:off x="8507364" y="139701"/>
            <a:ext cx="1909177" cy="166199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6350">
                <a:solidFill>
                  <a:srgbClr val="ADABA1"/>
                </a:solidFill>
                <a:miter lim="800000"/>
              </a14:hiddenLine>
            </a:ext>
          </a:extLst>
        </p:spPr>
        <p:txBody>
          <a:bodyPr vert="horz" wrap="non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r"/>
            <a:r>
              <a:rPr lang="en-GB" sz="1200" dirty="0">
                <a:solidFill>
                  <a:srgbClr val="000000"/>
                </a:solidFill>
                <a:latin typeface="Arial"/>
              </a:rPr>
              <a:t>Overview and key principles</a:t>
            </a:r>
          </a:p>
        </p:txBody>
      </p:sp>
    </p:spTree>
    <p:extLst>
      <p:ext uri="{BB962C8B-B14F-4D97-AF65-F5344CB8AC3E}">
        <p14:creationId xmlns:p14="http://schemas.microsoft.com/office/powerpoint/2010/main" val="1737948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37</TotalTime>
  <Words>1093</Words>
  <Application>Microsoft Office PowerPoint</Application>
  <PresentationFormat>Widescreen</PresentationFormat>
  <Paragraphs>151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Arial </vt:lpstr>
      <vt:lpstr>Calibri</vt:lpstr>
      <vt:lpstr>Calibri Light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ur Marist principles …</vt:lpstr>
      <vt:lpstr>… inspired some New Models Project principles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ur Marist principles …</dc:title>
  <dc:creator>Chris Wills</dc:creator>
  <cp:lastModifiedBy>Joseph Mc Kee</cp:lastModifiedBy>
  <cp:revision>40</cp:revision>
  <dcterms:created xsi:type="dcterms:W3CDTF">2015-07-07T07:43:31Z</dcterms:created>
  <dcterms:modified xsi:type="dcterms:W3CDTF">2015-07-10T20:25:14Z</dcterms:modified>
</cp:coreProperties>
</file>